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handoutMasterIdLst>
    <p:handoutMasterId r:id="rId23"/>
  </p:handoutMasterIdLst>
  <p:sldIdLst>
    <p:sldId id="256" r:id="rId2"/>
    <p:sldId id="258" r:id="rId3"/>
    <p:sldId id="262" r:id="rId4"/>
    <p:sldId id="264" r:id="rId5"/>
    <p:sldId id="266" r:id="rId6"/>
    <p:sldId id="265" r:id="rId7"/>
    <p:sldId id="268" r:id="rId8"/>
    <p:sldId id="269" r:id="rId9"/>
    <p:sldId id="270" r:id="rId10"/>
    <p:sldId id="272" r:id="rId11"/>
    <p:sldId id="271" r:id="rId12"/>
    <p:sldId id="273" r:id="rId13"/>
    <p:sldId id="274" r:id="rId14"/>
    <p:sldId id="275" r:id="rId15"/>
    <p:sldId id="260" r:id="rId16"/>
    <p:sldId id="277" r:id="rId17"/>
    <p:sldId id="276" r:id="rId18"/>
    <p:sldId id="278" r:id="rId19"/>
    <p:sldId id="279" r:id="rId20"/>
    <p:sldId id="280"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989E26-2C11-C04E-A205-6498A22FABA4}" v="243" dt="2022-11-29T01:45:39.3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0" autoAdjust="0"/>
    <p:restoredTop sz="94793" autoAdjust="0"/>
  </p:normalViewPr>
  <p:slideViewPr>
    <p:cSldViewPr snapToGrid="0" showGuides="1">
      <p:cViewPr varScale="1">
        <p:scale>
          <a:sx n="143" d="100"/>
          <a:sy n="143" d="100"/>
        </p:scale>
        <p:origin x="224" y="600"/>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3281B756-25EC-4056-B093-9F7526CF29C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160DBF9-387B-47BE-9EA9-B51570CA7E7B}" type="datetimeFigureOut">
              <a:rPr lang="de-DE" sz="1000" smtClean="0">
                <a:solidFill>
                  <a:schemeClr val="tx2"/>
                </a:solidFill>
              </a:rPr>
              <a:t>29.11.22</a:t>
            </a:fld>
            <a:endParaRPr lang="de-DE" sz="1000" dirty="0">
              <a:solidFill>
                <a:schemeClr val="tx2"/>
              </a:solidFill>
            </a:endParaRPr>
          </a:p>
        </p:txBody>
      </p:sp>
      <p:sp>
        <p:nvSpPr>
          <p:cNvPr id="5" name="Foliennummernplatzhalter 4">
            <a:extLst>
              <a:ext uri="{FF2B5EF4-FFF2-40B4-BE49-F238E27FC236}">
                <a16:creationId xmlns:a16="http://schemas.microsoft.com/office/drawing/2014/main" id="{83174463-DF9B-4816-8928-D7AD17F33BF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81AC94-A6E6-4850-BB29-E31EB708CD3E}" type="slidenum">
              <a:rPr lang="de-DE" sz="1000" smtClean="0">
                <a:solidFill>
                  <a:schemeClr val="tx2"/>
                </a:solidFill>
              </a:rPr>
              <a:t>‹#›</a:t>
            </a:fld>
            <a:endParaRPr lang="de-DE" sz="1000">
              <a:solidFill>
                <a:schemeClr val="tx2"/>
              </a:solidFill>
            </a:endParaRPr>
          </a:p>
        </p:txBody>
      </p:sp>
    </p:spTree>
    <p:extLst>
      <p:ext uri="{BB962C8B-B14F-4D97-AF65-F5344CB8AC3E}">
        <p14:creationId xmlns:p14="http://schemas.microsoft.com/office/powerpoint/2010/main" val="17673163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solidFill>
                  <a:schemeClr val="tx2"/>
                </a:solidFill>
              </a:defRPr>
            </a:lvl1pPr>
          </a:lstStyle>
          <a:p>
            <a:fld id="{E45C0D7D-5195-4F5B-87E7-13C7BF9E7F29}" type="datetimeFigureOut">
              <a:rPr lang="de-DE" smtClean="0"/>
              <a:pPr/>
              <a:t>29.11.22</a:t>
            </a:fld>
            <a:endParaRPr lang="de-DE" dirty="0"/>
          </a:p>
        </p:txBody>
      </p:sp>
      <p:sp>
        <p:nvSpPr>
          <p:cNvPr id="4" name="Folienbildplatzhalter 3"/>
          <p:cNvSpPr>
            <a:spLocks noGrp="1" noRot="1" noChangeAspect="1"/>
          </p:cNvSpPr>
          <p:nvPr>
            <p:ph type="sldImg" idx="2"/>
          </p:nvPr>
        </p:nvSpPr>
        <p:spPr>
          <a:xfrm>
            <a:off x="421200" y="1242000"/>
            <a:ext cx="5958400" cy="33516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0400" y="477720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solidFill>
                  <a:schemeClr val="tx2"/>
                </a:solidFill>
              </a:defRPr>
            </a:lvl1pPr>
          </a:lstStyle>
          <a:p>
            <a:fld id="{016D19BE-3AE1-4040-9C45-706455FE579C}" type="slidenum">
              <a:rPr lang="de-DE" smtClean="0"/>
              <a:pPr/>
              <a:t>‹#›</a:t>
            </a:fld>
            <a:endParaRPr lang="de-DE" dirty="0"/>
          </a:p>
        </p:txBody>
      </p:sp>
    </p:spTree>
    <p:extLst>
      <p:ext uri="{BB962C8B-B14F-4D97-AF65-F5344CB8AC3E}">
        <p14:creationId xmlns:p14="http://schemas.microsoft.com/office/powerpoint/2010/main" val="1101402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1425"/>
            <a:ext cx="5959475" cy="33528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16D19BE-3AE1-4040-9C45-706455FE579C}" type="slidenum">
              <a:rPr lang="de-DE" smtClean="0"/>
              <a:pPr/>
              <a:t>1</a:t>
            </a:fld>
            <a:endParaRPr lang="de-DE" dirty="0"/>
          </a:p>
        </p:txBody>
      </p:sp>
    </p:spTree>
    <p:extLst>
      <p:ext uri="{BB962C8B-B14F-4D97-AF65-F5344CB8AC3E}">
        <p14:creationId xmlns:p14="http://schemas.microsoft.com/office/powerpoint/2010/main" val="30113878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03889B5-5769-4D31-B1F9-4724D3A628C4}"/>
              </a:ext>
            </a:extLst>
          </p:cNvPr>
          <p:cNvGraphicFramePr>
            <a:graphicFrameLocks noChangeAspect="1"/>
          </p:cNvGraphicFramePr>
          <p:nvPr>
            <p:custDataLst>
              <p:tags r:id="rId1"/>
            </p:custDataLst>
            <p:extLst>
              <p:ext uri="{D42A27DB-BD31-4B8C-83A1-F6EECF244321}">
                <p14:modId xmlns:p14="http://schemas.microsoft.com/office/powerpoint/2010/main" val="2537488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kt 7" hidden="1">
                        <a:extLst>
                          <a:ext uri="{FF2B5EF4-FFF2-40B4-BE49-F238E27FC236}">
                            <a16:creationId xmlns:a16="http://schemas.microsoft.com/office/drawing/2014/main" id="{F03889B5-5769-4D31-B1F9-4724D3A628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7E9E9310-804D-43C9-A137-B7D9C63A9A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2" name="Titel 1">
            <a:extLst>
              <a:ext uri="{FF2B5EF4-FFF2-40B4-BE49-F238E27FC236}">
                <a16:creationId xmlns:a16="http://schemas.microsoft.com/office/drawing/2014/main" id="{18F5DC52-C560-4903-AA44-0497E08EA686}"/>
              </a:ext>
            </a:extLst>
          </p:cNvPr>
          <p:cNvSpPr>
            <a:spLocks noGrp="1"/>
          </p:cNvSpPr>
          <p:nvPr>
            <p:ph type="ctrTitle" hasCustomPrompt="1"/>
          </p:nvPr>
        </p:nvSpPr>
        <p:spPr>
          <a:xfrm>
            <a:off x="479425" y="2621920"/>
            <a:ext cx="9180513" cy="997196"/>
          </a:xfrm>
        </p:spPr>
        <p:txBody>
          <a:bodyPr lIns="0" tIns="0" rIns="0" bIns="0" anchor="b">
            <a:noAutofit/>
          </a:bodyPr>
          <a:lstStyle>
            <a:lvl1pPr algn="l">
              <a:defRPr sz="3600" b="1" cap="all" baseline="0">
                <a:solidFill>
                  <a:schemeClr val="tx1"/>
                </a:solidFill>
                <a:latin typeface="+mn-lt"/>
              </a:defRPr>
            </a:lvl1pPr>
          </a:lstStyle>
          <a:p>
            <a:r>
              <a:rPr lang="de-DE" dirty="0"/>
              <a:t>Click </a:t>
            </a:r>
            <a:r>
              <a:rPr lang="de-DE" dirty="0" err="1"/>
              <a:t>to</a:t>
            </a:r>
            <a:r>
              <a:rPr lang="de-DE" dirty="0"/>
              <a:t> </a:t>
            </a:r>
            <a:r>
              <a:rPr lang="de-DE" dirty="0" err="1"/>
              <a:t>add</a:t>
            </a:r>
            <a:r>
              <a:rPr lang="de-DE" dirty="0"/>
              <a:t> title</a:t>
            </a:r>
            <a:br>
              <a:rPr lang="de-DE" dirty="0"/>
            </a:br>
            <a:r>
              <a:rPr lang="de-DE" dirty="0"/>
              <a:t>36 </a:t>
            </a:r>
            <a:r>
              <a:rPr lang="de-DE" dirty="0" err="1"/>
              <a:t>pt</a:t>
            </a:r>
            <a:r>
              <a:rPr lang="de-DE" dirty="0"/>
              <a:t>. </a:t>
            </a:r>
            <a:r>
              <a:rPr lang="de-DE" dirty="0" err="1"/>
              <a:t>Bold</a:t>
            </a:r>
            <a:r>
              <a:rPr lang="de-DE" dirty="0"/>
              <a:t>, </a:t>
            </a:r>
            <a:r>
              <a:rPr lang="de-DE" dirty="0" err="1"/>
              <a:t>caps</a:t>
            </a:r>
            <a:r>
              <a:rPr lang="de-DE" dirty="0"/>
              <a:t> </a:t>
            </a:r>
          </a:p>
        </p:txBody>
      </p:sp>
      <p:sp>
        <p:nvSpPr>
          <p:cNvPr id="3" name="Untertitel 2">
            <a:extLst>
              <a:ext uri="{FF2B5EF4-FFF2-40B4-BE49-F238E27FC236}">
                <a16:creationId xmlns:a16="http://schemas.microsoft.com/office/drawing/2014/main" id="{805457E3-5FFF-4E34-B755-5A5C2B372ECD}"/>
              </a:ext>
            </a:extLst>
          </p:cNvPr>
          <p:cNvSpPr>
            <a:spLocks noGrp="1"/>
          </p:cNvSpPr>
          <p:nvPr>
            <p:ph type="subTitle" idx="1" hasCustomPrompt="1"/>
          </p:nvPr>
        </p:nvSpPr>
        <p:spPr>
          <a:xfrm>
            <a:off x="479425" y="3869599"/>
            <a:ext cx="9180513" cy="276999"/>
          </a:xfrm>
          <a:prstGeom prst="rect">
            <a:avLst/>
          </a:prstGeom>
        </p:spPr>
        <p:txBody>
          <a:bodyPr lIns="0" tIns="0" rIns="0" bIns="0">
            <a:spAutoFit/>
          </a:bodyPr>
          <a:lstStyle>
            <a:lvl1pPr marL="0" indent="0" algn="l">
              <a:lnSpc>
                <a:spcPct val="100000"/>
              </a:lnSpc>
              <a:spcBef>
                <a:spcPts val="0"/>
              </a:spcBef>
              <a:spcAft>
                <a:spcPts val="0"/>
              </a:spcAft>
              <a:buNone/>
              <a:defRPr sz="1800" b="0" cap="none" baseline="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r>
              <a:rPr lang="de-DE" dirty="0"/>
              <a:t>, 18 </a:t>
            </a:r>
            <a:r>
              <a:rPr lang="de-DE" dirty="0" err="1"/>
              <a:t>pt</a:t>
            </a:r>
            <a:r>
              <a:rPr lang="de-DE" dirty="0"/>
              <a:t>. Regular</a:t>
            </a:r>
          </a:p>
        </p:txBody>
      </p:sp>
      <p:sp>
        <p:nvSpPr>
          <p:cNvPr id="14" name="Rechteck 13">
            <a:extLst>
              <a:ext uri="{FF2B5EF4-FFF2-40B4-BE49-F238E27FC236}">
                <a16:creationId xmlns:a16="http://schemas.microsoft.com/office/drawing/2014/main" id="{0E741EA5-5CD3-4B6D-A654-564CC372A38B}"/>
              </a:ext>
            </a:extLst>
          </p:cNvPr>
          <p:cNvSpPr/>
          <p:nvPr/>
        </p:nvSpPr>
        <p:spPr>
          <a:xfrm>
            <a:off x="479425" y="3726357"/>
            <a:ext cx="684000" cy="3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platzhalter 15">
            <a:extLst>
              <a:ext uri="{FF2B5EF4-FFF2-40B4-BE49-F238E27FC236}">
                <a16:creationId xmlns:a16="http://schemas.microsoft.com/office/drawing/2014/main" id="{187D71F5-4854-4F5A-9313-38A98DA13E8A}"/>
              </a:ext>
            </a:extLst>
          </p:cNvPr>
          <p:cNvSpPr>
            <a:spLocks noGrp="1"/>
          </p:cNvSpPr>
          <p:nvPr>
            <p:ph type="body" sz="quarter" idx="10" hasCustomPrompt="1"/>
          </p:nvPr>
        </p:nvSpPr>
        <p:spPr>
          <a:xfrm>
            <a:off x="479425" y="5902697"/>
            <a:ext cx="9144000" cy="184666"/>
          </a:xfrm>
          <a:prstGeom prst="rect">
            <a:avLst/>
          </a:prstGeom>
        </p:spPr>
        <p:txBody>
          <a:bodyPr lIns="0" tIns="0" rIns="0" bIns="0" anchor="b" anchorCtr="0"/>
          <a:lstStyle>
            <a:lvl1pPr marL="0" indent="0">
              <a:lnSpc>
                <a:spcPct val="100000"/>
              </a:lnSpc>
              <a:spcBef>
                <a:spcPts val="0"/>
              </a:spcBef>
              <a:spcAft>
                <a:spcPts val="0"/>
              </a:spcAft>
              <a:buNone/>
              <a:defRPr sz="1200" b="0" cap="none" baseline="0">
                <a:solidFill>
                  <a:schemeClr val="tx1"/>
                </a:solidFill>
              </a:defRPr>
            </a:lvl1pPr>
          </a:lstStyle>
          <a:p>
            <a:pPr lvl="0"/>
            <a:r>
              <a:rPr lang="de-DE" dirty="0"/>
              <a:t>Ort, Datum eingeben</a:t>
            </a:r>
          </a:p>
        </p:txBody>
      </p:sp>
      <p:grpSp>
        <p:nvGrpSpPr>
          <p:cNvPr id="17" name="Gruppieren 16">
            <a:extLst>
              <a:ext uri="{FF2B5EF4-FFF2-40B4-BE49-F238E27FC236}">
                <a16:creationId xmlns:a16="http://schemas.microsoft.com/office/drawing/2014/main" id="{906A8657-387B-4A35-B7CB-570141289255}"/>
              </a:ext>
            </a:extLst>
          </p:cNvPr>
          <p:cNvGrpSpPr/>
          <p:nvPr userDrawn="1"/>
        </p:nvGrpSpPr>
        <p:grpSpPr>
          <a:xfrm>
            <a:off x="9320362" y="330434"/>
            <a:ext cx="2392460" cy="345976"/>
            <a:chOff x="9320362" y="330434"/>
            <a:chExt cx="2392460" cy="345976"/>
          </a:xfrm>
        </p:grpSpPr>
        <p:sp>
          <p:nvSpPr>
            <p:cNvPr id="5" name="Freihandform: Form 4">
              <a:extLst>
                <a:ext uri="{FF2B5EF4-FFF2-40B4-BE49-F238E27FC236}">
                  <a16:creationId xmlns:a16="http://schemas.microsoft.com/office/drawing/2014/main" id="{55A68C65-F098-4E0B-A39D-AC9CB1D79DCF}"/>
                </a:ext>
              </a:extLst>
            </p:cNvPr>
            <p:cNvSpPr/>
            <p:nvPr/>
          </p:nvSpPr>
          <p:spPr>
            <a:xfrm>
              <a:off x="9908583" y="339029"/>
              <a:ext cx="347574" cy="332589"/>
            </a:xfrm>
            <a:custGeom>
              <a:avLst/>
              <a:gdLst>
                <a:gd name="connsiteX0" fmla="*/ 260728 w 347574"/>
                <a:gd name="connsiteY0" fmla="*/ 23028 h 332589"/>
                <a:gd name="connsiteX1" fmla="*/ 265026 w 347574"/>
                <a:gd name="connsiteY1" fmla="*/ 23276 h 332589"/>
                <a:gd name="connsiteX2" fmla="*/ 287313 w 347574"/>
                <a:gd name="connsiteY2" fmla="*/ 58588 h 332589"/>
                <a:gd name="connsiteX3" fmla="*/ 287313 w 347574"/>
                <a:gd name="connsiteY3" fmla="*/ 235095 h 332589"/>
                <a:gd name="connsiteX4" fmla="*/ 80267 w 347574"/>
                <a:gd name="connsiteY4" fmla="*/ 0 h 332589"/>
                <a:gd name="connsiteX5" fmla="*/ 7854 w 347574"/>
                <a:gd name="connsiteY5" fmla="*/ 0 h 332589"/>
                <a:gd name="connsiteX6" fmla="*/ 7854 w 347574"/>
                <a:gd name="connsiteY6" fmla="*/ 22572 h 332589"/>
                <a:gd name="connsiteX7" fmla="*/ 11847 w 347574"/>
                <a:gd name="connsiteY7" fmla="*/ 22971 h 332589"/>
                <a:gd name="connsiteX8" fmla="*/ 27174 w 347574"/>
                <a:gd name="connsiteY8" fmla="*/ 34381 h 332589"/>
                <a:gd name="connsiteX9" fmla="*/ 27174 w 347574"/>
                <a:gd name="connsiteY9" fmla="*/ 267764 h 332589"/>
                <a:gd name="connsiteX10" fmla="*/ 4355 w 347574"/>
                <a:gd name="connsiteY10" fmla="*/ 306024 h 332589"/>
                <a:gd name="connsiteX11" fmla="*/ 0 w 347574"/>
                <a:gd name="connsiteY11" fmla="*/ 306253 h 332589"/>
                <a:gd name="connsiteX12" fmla="*/ 0 w 347574"/>
                <a:gd name="connsiteY12" fmla="*/ 329072 h 332589"/>
                <a:gd name="connsiteX13" fmla="*/ 88577 w 347574"/>
                <a:gd name="connsiteY13" fmla="*/ 329072 h 332589"/>
                <a:gd name="connsiteX14" fmla="*/ 88577 w 347574"/>
                <a:gd name="connsiteY14" fmla="*/ 306500 h 332589"/>
                <a:gd name="connsiteX15" fmla="*/ 84374 w 347574"/>
                <a:gd name="connsiteY15" fmla="*/ 306176 h 332589"/>
                <a:gd name="connsiteX16" fmla="*/ 62677 w 347574"/>
                <a:gd name="connsiteY16" fmla="*/ 263923 h 332589"/>
                <a:gd name="connsiteX17" fmla="*/ 62677 w 347574"/>
                <a:gd name="connsiteY17" fmla="*/ 74809 h 332589"/>
                <a:gd name="connsiteX18" fmla="*/ 288967 w 347574"/>
                <a:gd name="connsiteY18" fmla="*/ 331049 h 332589"/>
                <a:gd name="connsiteX19" fmla="*/ 290336 w 347574"/>
                <a:gd name="connsiteY19" fmla="*/ 332590 h 332589"/>
                <a:gd name="connsiteX20" fmla="*/ 322816 w 347574"/>
                <a:gd name="connsiteY20" fmla="*/ 332590 h 332589"/>
                <a:gd name="connsiteX21" fmla="*/ 322816 w 347574"/>
                <a:gd name="connsiteY21" fmla="*/ 63799 h 332589"/>
                <a:gd name="connsiteX22" fmla="*/ 343391 w 347574"/>
                <a:gd name="connsiteY22" fmla="*/ 23428 h 332589"/>
                <a:gd name="connsiteX23" fmla="*/ 347574 w 347574"/>
                <a:gd name="connsiteY23" fmla="*/ 23066 h 332589"/>
                <a:gd name="connsiteX24" fmla="*/ 347574 w 347574"/>
                <a:gd name="connsiteY24" fmla="*/ 0 h 332589"/>
                <a:gd name="connsiteX25" fmla="*/ 260728 w 347574"/>
                <a:gd name="connsiteY25" fmla="*/ 0 h 33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7574" h="332589">
                  <a:moveTo>
                    <a:pt x="260728" y="23028"/>
                  </a:moveTo>
                  <a:lnTo>
                    <a:pt x="265026" y="23276"/>
                  </a:lnTo>
                  <a:cubicBezTo>
                    <a:pt x="287351" y="24550"/>
                    <a:pt x="287351" y="29094"/>
                    <a:pt x="287313" y="58588"/>
                  </a:cubicBezTo>
                  <a:lnTo>
                    <a:pt x="287313" y="235095"/>
                  </a:lnTo>
                  <a:lnTo>
                    <a:pt x="80267" y="0"/>
                  </a:lnTo>
                  <a:lnTo>
                    <a:pt x="7854" y="0"/>
                  </a:lnTo>
                  <a:lnTo>
                    <a:pt x="7854" y="22572"/>
                  </a:lnTo>
                  <a:lnTo>
                    <a:pt x="11847" y="22971"/>
                  </a:lnTo>
                  <a:cubicBezTo>
                    <a:pt x="23808" y="23789"/>
                    <a:pt x="26946" y="27782"/>
                    <a:pt x="27174" y="34381"/>
                  </a:cubicBezTo>
                  <a:lnTo>
                    <a:pt x="27174" y="267764"/>
                  </a:lnTo>
                  <a:cubicBezTo>
                    <a:pt x="27174" y="297106"/>
                    <a:pt x="27174" y="304978"/>
                    <a:pt x="4355" y="306024"/>
                  </a:cubicBezTo>
                  <a:lnTo>
                    <a:pt x="0" y="306253"/>
                  </a:lnTo>
                  <a:lnTo>
                    <a:pt x="0" y="329072"/>
                  </a:lnTo>
                  <a:lnTo>
                    <a:pt x="88577" y="329072"/>
                  </a:lnTo>
                  <a:lnTo>
                    <a:pt x="88577" y="306500"/>
                  </a:lnTo>
                  <a:lnTo>
                    <a:pt x="84374" y="306176"/>
                  </a:lnTo>
                  <a:cubicBezTo>
                    <a:pt x="62639" y="304484"/>
                    <a:pt x="62658" y="295908"/>
                    <a:pt x="62677" y="263923"/>
                  </a:cubicBezTo>
                  <a:lnTo>
                    <a:pt x="62677" y="74809"/>
                  </a:lnTo>
                  <a:lnTo>
                    <a:pt x="288967" y="331049"/>
                  </a:lnTo>
                  <a:lnTo>
                    <a:pt x="290336" y="332590"/>
                  </a:lnTo>
                  <a:lnTo>
                    <a:pt x="322816" y="332590"/>
                  </a:lnTo>
                  <a:lnTo>
                    <a:pt x="322816" y="63799"/>
                  </a:lnTo>
                  <a:cubicBezTo>
                    <a:pt x="322816" y="30996"/>
                    <a:pt x="324584" y="25215"/>
                    <a:pt x="343391" y="23428"/>
                  </a:cubicBezTo>
                  <a:lnTo>
                    <a:pt x="347574" y="23066"/>
                  </a:lnTo>
                  <a:lnTo>
                    <a:pt x="347574" y="0"/>
                  </a:lnTo>
                  <a:lnTo>
                    <a:pt x="260728" y="0"/>
                  </a:lnTo>
                  <a:close/>
                </a:path>
              </a:pathLst>
            </a:custGeom>
            <a:solidFill>
              <a:srgbClr val="000000"/>
            </a:solidFill>
            <a:ln w="190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2CB80CF9-41B0-4B35-8E86-E0CD85055FB6}"/>
                </a:ext>
              </a:extLst>
            </p:cNvPr>
            <p:cNvSpPr/>
            <p:nvPr/>
          </p:nvSpPr>
          <p:spPr>
            <a:xfrm>
              <a:off x="9320362" y="330434"/>
              <a:ext cx="243956" cy="345976"/>
            </a:xfrm>
            <a:custGeom>
              <a:avLst/>
              <a:gdLst>
                <a:gd name="connsiteX0" fmla="*/ 142829 w 243956"/>
                <a:gd name="connsiteY0" fmla="*/ 140148 h 345976"/>
                <a:gd name="connsiteX1" fmla="*/ 142829 w 243956"/>
                <a:gd name="connsiteY1" fmla="*/ 140148 h 345976"/>
                <a:gd name="connsiteX2" fmla="*/ 70359 w 243956"/>
                <a:gd name="connsiteY2" fmla="*/ 75189 h 345976"/>
                <a:gd name="connsiteX3" fmla="*/ 119287 w 243956"/>
                <a:gd name="connsiteY3" fmla="*/ 27744 h 345976"/>
                <a:gd name="connsiteX4" fmla="*/ 195351 w 243956"/>
                <a:gd name="connsiteY4" fmla="*/ 64559 h 345976"/>
                <a:gd name="connsiteX5" fmla="*/ 196625 w 243956"/>
                <a:gd name="connsiteY5" fmla="*/ 67145 h 345976"/>
                <a:gd name="connsiteX6" fmla="*/ 221118 w 243956"/>
                <a:gd name="connsiteY6" fmla="*/ 66879 h 345976"/>
                <a:gd name="connsiteX7" fmla="*/ 210526 w 243956"/>
                <a:gd name="connsiteY7" fmla="*/ 5001 h 345976"/>
                <a:gd name="connsiteX8" fmla="*/ 194990 w 243956"/>
                <a:gd name="connsiteY8" fmla="*/ 5001 h 345976"/>
                <a:gd name="connsiteX9" fmla="*/ 192594 w 243956"/>
                <a:gd name="connsiteY9" fmla="*/ 6085 h 345976"/>
                <a:gd name="connsiteX10" fmla="*/ 180291 w 243956"/>
                <a:gd name="connsiteY10" fmla="*/ 8747 h 345976"/>
                <a:gd name="connsiteX11" fmla="*/ 164793 w 243956"/>
                <a:gd name="connsiteY11" fmla="*/ 6180 h 345976"/>
                <a:gd name="connsiteX12" fmla="*/ 155646 w 243956"/>
                <a:gd name="connsiteY12" fmla="*/ 4279 h 345976"/>
                <a:gd name="connsiteX13" fmla="*/ 112765 w 243956"/>
                <a:gd name="connsiteY13" fmla="*/ 0 h 345976"/>
                <a:gd name="connsiteX14" fmla="*/ 8291 w 243956"/>
                <a:gd name="connsiteY14" fmla="*/ 89508 h 345976"/>
                <a:gd name="connsiteX15" fmla="*/ 103675 w 243956"/>
                <a:gd name="connsiteY15" fmla="*/ 190749 h 345976"/>
                <a:gd name="connsiteX16" fmla="*/ 180272 w 243956"/>
                <a:gd name="connsiteY16" fmla="*/ 263333 h 345976"/>
                <a:gd name="connsiteX17" fmla="*/ 117120 w 243956"/>
                <a:gd name="connsiteY17" fmla="*/ 315076 h 345976"/>
                <a:gd name="connsiteX18" fmla="*/ 24417 w 243956"/>
                <a:gd name="connsiteY18" fmla="*/ 271586 h 345976"/>
                <a:gd name="connsiteX19" fmla="*/ 23276 w 243956"/>
                <a:gd name="connsiteY19" fmla="*/ 268734 h 345976"/>
                <a:gd name="connsiteX20" fmla="*/ 0 w 243956"/>
                <a:gd name="connsiteY20" fmla="*/ 268734 h 345976"/>
                <a:gd name="connsiteX21" fmla="*/ 10345 w 243956"/>
                <a:gd name="connsiteY21" fmla="*/ 338371 h 345976"/>
                <a:gd name="connsiteX22" fmla="*/ 29133 w 243956"/>
                <a:gd name="connsiteY22" fmla="*/ 338371 h 345976"/>
                <a:gd name="connsiteX23" fmla="*/ 30445 w 243956"/>
                <a:gd name="connsiteY23" fmla="*/ 337115 h 345976"/>
                <a:gd name="connsiteX24" fmla="*/ 42235 w 243956"/>
                <a:gd name="connsiteY24" fmla="*/ 334491 h 345976"/>
                <a:gd name="connsiteX25" fmla="*/ 62372 w 243956"/>
                <a:gd name="connsiteY25" fmla="*/ 338085 h 345976"/>
                <a:gd name="connsiteX26" fmla="*/ 120942 w 243956"/>
                <a:gd name="connsiteY26" fmla="*/ 345977 h 345976"/>
                <a:gd name="connsiteX27" fmla="*/ 243956 w 243956"/>
                <a:gd name="connsiteY27" fmla="*/ 247988 h 345976"/>
                <a:gd name="connsiteX28" fmla="*/ 142848 w 243956"/>
                <a:gd name="connsiteY28" fmla="*/ 140148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3956" h="345976">
                  <a:moveTo>
                    <a:pt x="142829" y="140148"/>
                  </a:moveTo>
                  <a:lnTo>
                    <a:pt x="142829" y="140148"/>
                  </a:lnTo>
                  <a:cubicBezTo>
                    <a:pt x="105558" y="121436"/>
                    <a:pt x="70359" y="103751"/>
                    <a:pt x="70359" y="75189"/>
                  </a:cubicBezTo>
                  <a:cubicBezTo>
                    <a:pt x="70359" y="56059"/>
                    <a:pt x="85914" y="27744"/>
                    <a:pt x="119287" y="27744"/>
                  </a:cubicBezTo>
                  <a:cubicBezTo>
                    <a:pt x="157814" y="27744"/>
                    <a:pt x="180823" y="38298"/>
                    <a:pt x="195351" y="64559"/>
                  </a:cubicBezTo>
                  <a:lnTo>
                    <a:pt x="196625" y="67145"/>
                  </a:lnTo>
                  <a:lnTo>
                    <a:pt x="221118" y="66879"/>
                  </a:lnTo>
                  <a:lnTo>
                    <a:pt x="210526" y="5001"/>
                  </a:lnTo>
                  <a:lnTo>
                    <a:pt x="194990" y="5001"/>
                  </a:lnTo>
                  <a:lnTo>
                    <a:pt x="192594" y="6085"/>
                  </a:lnTo>
                  <a:cubicBezTo>
                    <a:pt x="188783" y="7997"/>
                    <a:pt x="184551" y="8913"/>
                    <a:pt x="180291" y="8747"/>
                  </a:cubicBezTo>
                  <a:cubicBezTo>
                    <a:pt x="173825" y="8500"/>
                    <a:pt x="170973" y="7435"/>
                    <a:pt x="164793" y="6180"/>
                  </a:cubicBezTo>
                  <a:cubicBezTo>
                    <a:pt x="162168" y="5629"/>
                    <a:pt x="159259" y="4887"/>
                    <a:pt x="155646" y="4279"/>
                  </a:cubicBezTo>
                  <a:cubicBezTo>
                    <a:pt x="141528" y="1446"/>
                    <a:pt x="127164" y="13"/>
                    <a:pt x="112765" y="0"/>
                  </a:cubicBezTo>
                  <a:cubicBezTo>
                    <a:pt x="55146" y="0"/>
                    <a:pt x="8291" y="40143"/>
                    <a:pt x="8291" y="89508"/>
                  </a:cubicBezTo>
                  <a:cubicBezTo>
                    <a:pt x="8291" y="139463"/>
                    <a:pt x="56782" y="165572"/>
                    <a:pt x="103675" y="190749"/>
                  </a:cubicBezTo>
                  <a:cubicBezTo>
                    <a:pt x="143057" y="211933"/>
                    <a:pt x="180272" y="231995"/>
                    <a:pt x="180272" y="263333"/>
                  </a:cubicBezTo>
                  <a:cubicBezTo>
                    <a:pt x="180272" y="292827"/>
                    <a:pt x="153117" y="315076"/>
                    <a:pt x="117120" y="315076"/>
                  </a:cubicBezTo>
                  <a:cubicBezTo>
                    <a:pt x="67906" y="315076"/>
                    <a:pt x="37576" y="300833"/>
                    <a:pt x="24417" y="271586"/>
                  </a:cubicBezTo>
                  <a:lnTo>
                    <a:pt x="23276" y="268734"/>
                  </a:lnTo>
                  <a:lnTo>
                    <a:pt x="0" y="268734"/>
                  </a:lnTo>
                  <a:lnTo>
                    <a:pt x="10345" y="338371"/>
                  </a:lnTo>
                  <a:lnTo>
                    <a:pt x="29133" y="338371"/>
                  </a:lnTo>
                  <a:lnTo>
                    <a:pt x="30445" y="337115"/>
                  </a:lnTo>
                  <a:cubicBezTo>
                    <a:pt x="33240" y="334605"/>
                    <a:pt x="36720" y="334434"/>
                    <a:pt x="42235" y="334491"/>
                  </a:cubicBezTo>
                  <a:cubicBezTo>
                    <a:pt x="47749" y="334548"/>
                    <a:pt x="54120" y="336089"/>
                    <a:pt x="62372" y="338085"/>
                  </a:cubicBezTo>
                  <a:cubicBezTo>
                    <a:pt x="81479" y="343202"/>
                    <a:pt x="101162" y="345853"/>
                    <a:pt x="120942" y="345977"/>
                  </a:cubicBezTo>
                  <a:cubicBezTo>
                    <a:pt x="192233" y="345977"/>
                    <a:pt x="243956" y="304769"/>
                    <a:pt x="243956" y="247988"/>
                  </a:cubicBezTo>
                  <a:cubicBezTo>
                    <a:pt x="243956" y="191206"/>
                    <a:pt x="190160" y="163956"/>
                    <a:pt x="142848" y="140148"/>
                  </a:cubicBezTo>
                </a:path>
              </a:pathLst>
            </a:custGeom>
            <a:solidFill>
              <a:srgbClr val="000000"/>
            </a:solidFill>
            <a:ln w="190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8BD7DBD3-3FED-4EFE-A58C-B496BB5ED7E8}"/>
                </a:ext>
              </a:extLst>
            </p:cNvPr>
            <p:cNvSpPr/>
            <p:nvPr/>
          </p:nvSpPr>
          <p:spPr>
            <a:xfrm>
              <a:off x="9614881" y="339067"/>
              <a:ext cx="243328" cy="329090"/>
            </a:xfrm>
            <a:custGeom>
              <a:avLst/>
              <a:gdLst>
                <a:gd name="connsiteX0" fmla="*/ 16544 w 243328"/>
                <a:gd name="connsiteY0" fmla="*/ 287103 h 329090"/>
                <a:gd name="connsiteX1" fmla="*/ 4126 w 243328"/>
                <a:gd name="connsiteY1" fmla="*/ 305397 h 329090"/>
                <a:gd name="connsiteX2" fmla="*/ 0 w 243328"/>
                <a:gd name="connsiteY2" fmla="*/ 305796 h 329090"/>
                <a:gd name="connsiteX3" fmla="*/ 0 w 243328"/>
                <a:gd name="connsiteY3" fmla="*/ 329091 h 329090"/>
                <a:gd name="connsiteX4" fmla="*/ 235342 w 243328"/>
                <a:gd name="connsiteY4" fmla="*/ 329091 h 329090"/>
                <a:gd name="connsiteX5" fmla="*/ 243329 w 243328"/>
                <a:gd name="connsiteY5" fmla="*/ 263276 h 329090"/>
                <a:gd name="connsiteX6" fmla="*/ 218608 w 243328"/>
                <a:gd name="connsiteY6" fmla="*/ 263467 h 329090"/>
                <a:gd name="connsiteX7" fmla="*/ 217600 w 243328"/>
                <a:gd name="connsiteY7" fmla="*/ 266604 h 329090"/>
                <a:gd name="connsiteX8" fmla="*/ 164698 w 243328"/>
                <a:gd name="connsiteY8" fmla="*/ 296897 h 329090"/>
                <a:gd name="connsiteX9" fmla="*/ 104284 w 243328"/>
                <a:gd name="connsiteY9" fmla="*/ 296897 h 329090"/>
                <a:gd name="connsiteX10" fmla="*/ 80000 w 243328"/>
                <a:gd name="connsiteY10" fmla="*/ 264398 h 329090"/>
                <a:gd name="connsiteX11" fmla="*/ 80000 w 243328"/>
                <a:gd name="connsiteY11" fmla="*/ 175251 h 329090"/>
                <a:gd name="connsiteX12" fmla="*/ 144655 w 243328"/>
                <a:gd name="connsiteY12" fmla="*/ 175251 h 329090"/>
                <a:gd name="connsiteX13" fmla="*/ 174852 w 243328"/>
                <a:gd name="connsiteY13" fmla="*/ 193126 h 329090"/>
                <a:gd name="connsiteX14" fmla="*/ 175537 w 243328"/>
                <a:gd name="connsiteY14" fmla="*/ 196930 h 329090"/>
                <a:gd name="connsiteX15" fmla="*/ 199079 w 243328"/>
                <a:gd name="connsiteY15" fmla="*/ 196930 h 329090"/>
                <a:gd name="connsiteX16" fmla="*/ 199079 w 243328"/>
                <a:gd name="connsiteY16" fmla="*/ 122767 h 329090"/>
                <a:gd name="connsiteX17" fmla="*/ 175917 w 243328"/>
                <a:gd name="connsiteY17" fmla="*/ 122767 h 329090"/>
                <a:gd name="connsiteX18" fmla="*/ 175347 w 243328"/>
                <a:gd name="connsiteY18" fmla="*/ 126570 h 329090"/>
                <a:gd name="connsiteX19" fmla="*/ 144655 w 243328"/>
                <a:gd name="connsiteY19" fmla="*/ 143133 h 329090"/>
                <a:gd name="connsiteX20" fmla="*/ 80000 w 243328"/>
                <a:gd name="connsiteY20" fmla="*/ 143133 h 329090"/>
                <a:gd name="connsiteX21" fmla="*/ 80000 w 243328"/>
                <a:gd name="connsiteY21" fmla="*/ 32213 h 329090"/>
                <a:gd name="connsiteX22" fmla="*/ 166599 w 243328"/>
                <a:gd name="connsiteY22" fmla="*/ 32213 h 329090"/>
                <a:gd name="connsiteX23" fmla="*/ 201950 w 243328"/>
                <a:gd name="connsiteY23" fmla="*/ 55603 h 329090"/>
                <a:gd name="connsiteX24" fmla="*/ 202882 w 243328"/>
                <a:gd name="connsiteY24" fmla="*/ 58950 h 329090"/>
                <a:gd name="connsiteX25" fmla="*/ 227603 w 243328"/>
                <a:gd name="connsiteY25" fmla="*/ 58950 h 329090"/>
                <a:gd name="connsiteX26" fmla="*/ 223533 w 243328"/>
                <a:gd name="connsiteY26" fmla="*/ 0 h 329090"/>
                <a:gd name="connsiteX27" fmla="*/ 361 w 243328"/>
                <a:gd name="connsiteY27" fmla="*/ 0 h 329090"/>
                <a:gd name="connsiteX28" fmla="*/ 361 w 243328"/>
                <a:gd name="connsiteY28" fmla="*/ 23066 h 329090"/>
                <a:gd name="connsiteX29" fmla="*/ 4545 w 243328"/>
                <a:gd name="connsiteY29" fmla="*/ 23352 h 329090"/>
                <a:gd name="connsiteX30" fmla="*/ 16582 w 243328"/>
                <a:gd name="connsiteY30" fmla="*/ 52655 h 32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3328" h="329090">
                  <a:moveTo>
                    <a:pt x="16544" y="287103"/>
                  </a:moveTo>
                  <a:cubicBezTo>
                    <a:pt x="16202" y="299939"/>
                    <a:pt x="15878" y="304218"/>
                    <a:pt x="4126" y="305397"/>
                  </a:cubicBezTo>
                  <a:lnTo>
                    <a:pt x="0" y="305796"/>
                  </a:lnTo>
                  <a:lnTo>
                    <a:pt x="0" y="329091"/>
                  </a:lnTo>
                  <a:lnTo>
                    <a:pt x="235342" y="329091"/>
                  </a:lnTo>
                  <a:lnTo>
                    <a:pt x="243329" y="263276"/>
                  </a:lnTo>
                  <a:lnTo>
                    <a:pt x="218608" y="263467"/>
                  </a:lnTo>
                  <a:lnTo>
                    <a:pt x="217600" y="266604"/>
                  </a:lnTo>
                  <a:cubicBezTo>
                    <a:pt x="207826" y="297239"/>
                    <a:pt x="197766" y="297144"/>
                    <a:pt x="164698" y="296897"/>
                  </a:cubicBezTo>
                  <a:lnTo>
                    <a:pt x="104284" y="296897"/>
                  </a:lnTo>
                  <a:cubicBezTo>
                    <a:pt x="80666" y="296897"/>
                    <a:pt x="80000" y="292276"/>
                    <a:pt x="80000" y="264398"/>
                  </a:cubicBezTo>
                  <a:lnTo>
                    <a:pt x="80000" y="175251"/>
                  </a:lnTo>
                  <a:lnTo>
                    <a:pt x="144655" y="175251"/>
                  </a:lnTo>
                  <a:cubicBezTo>
                    <a:pt x="166181" y="175251"/>
                    <a:pt x="170688" y="175727"/>
                    <a:pt x="174852" y="193126"/>
                  </a:cubicBezTo>
                  <a:lnTo>
                    <a:pt x="175537" y="196930"/>
                  </a:lnTo>
                  <a:lnTo>
                    <a:pt x="199079" y="196930"/>
                  </a:lnTo>
                  <a:lnTo>
                    <a:pt x="199079" y="122767"/>
                  </a:lnTo>
                  <a:lnTo>
                    <a:pt x="175917" y="122767"/>
                  </a:lnTo>
                  <a:lnTo>
                    <a:pt x="175347" y="126570"/>
                  </a:lnTo>
                  <a:cubicBezTo>
                    <a:pt x="172608" y="141935"/>
                    <a:pt x="167588" y="143133"/>
                    <a:pt x="144655" y="143133"/>
                  </a:cubicBezTo>
                  <a:lnTo>
                    <a:pt x="80000" y="143133"/>
                  </a:lnTo>
                  <a:lnTo>
                    <a:pt x="80000" y="32213"/>
                  </a:lnTo>
                  <a:lnTo>
                    <a:pt x="166599" y="32213"/>
                  </a:lnTo>
                  <a:cubicBezTo>
                    <a:pt x="188829" y="32213"/>
                    <a:pt x="196112" y="32213"/>
                    <a:pt x="201950" y="55603"/>
                  </a:cubicBezTo>
                  <a:lnTo>
                    <a:pt x="202882" y="58950"/>
                  </a:lnTo>
                  <a:lnTo>
                    <a:pt x="227603" y="58950"/>
                  </a:lnTo>
                  <a:lnTo>
                    <a:pt x="223533" y="0"/>
                  </a:lnTo>
                  <a:lnTo>
                    <a:pt x="361" y="0"/>
                  </a:lnTo>
                  <a:lnTo>
                    <a:pt x="361" y="23066"/>
                  </a:lnTo>
                  <a:lnTo>
                    <a:pt x="4545" y="23352"/>
                  </a:lnTo>
                  <a:cubicBezTo>
                    <a:pt x="16411" y="24778"/>
                    <a:pt x="16430" y="29056"/>
                    <a:pt x="16582" y="52655"/>
                  </a:cubicBezTo>
                  <a:close/>
                </a:path>
              </a:pathLst>
            </a:custGeom>
            <a:solidFill>
              <a:srgbClr val="000000"/>
            </a:solidFill>
            <a:ln w="190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4D0B633B-6A5A-4E7E-9D30-099D94251414}"/>
                </a:ext>
              </a:extLst>
            </p:cNvPr>
            <p:cNvSpPr/>
            <p:nvPr/>
          </p:nvSpPr>
          <p:spPr>
            <a:xfrm>
              <a:off x="11361159" y="334047"/>
              <a:ext cx="351663" cy="338788"/>
            </a:xfrm>
            <a:custGeom>
              <a:avLst/>
              <a:gdLst>
                <a:gd name="connsiteX0" fmla="*/ 236768 w 351663"/>
                <a:gd name="connsiteY0" fmla="*/ 212960 h 338788"/>
                <a:gd name="connsiteX1" fmla="*/ 204061 w 351663"/>
                <a:gd name="connsiteY1" fmla="*/ 181793 h 338788"/>
                <a:gd name="connsiteX2" fmla="*/ 264170 w 351663"/>
                <a:gd name="connsiteY2" fmla="*/ 96753 h 338788"/>
                <a:gd name="connsiteX3" fmla="*/ 121417 w 351663"/>
                <a:gd name="connsiteY3" fmla="*/ 0 h 338788"/>
                <a:gd name="connsiteX4" fmla="*/ 59007 w 351663"/>
                <a:gd name="connsiteY4" fmla="*/ 1027 h 338788"/>
                <a:gd name="connsiteX5" fmla="*/ 24607 w 351663"/>
                <a:gd name="connsiteY5" fmla="*/ 2700 h 338788"/>
                <a:gd name="connsiteX6" fmla="*/ 10478 w 351663"/>
                <a:gd name="connsiteY6" fmla="*/ 3651 h 338788"/>
                <a:gd name="connsiteX7" fmla="*/ 10478 w 351663"/>
                <a:gd name="connsiteY7" fmla="*/ 26946 h 338788"/>
                <a:gd name="connsiteX8" fmla="*/ 14585 w 351663"/>
                <a:gd name="connsiteY8" fmla="*/ 27136 h 338788"/>
                <a:gd name="connsiteX9" fmla="*/ 28752 w 351663"/>
                <a:gd name="connsiteY9" fmla="*/ 40713 h 338788"/>
                <a:gd name="connsiteX10" fmla="*/ 28562 w 351663"/>
                <a:gd name="connsiteY10" fmla="*/ 281722 h 338788"/>
                <a:gd name="connsiteX11" fmla="*/ 4336 w 351663"/>
                <a:gd name="connsiteY11" fmla="*/ 311083 h 338788"/>
                <a:gd name="connsiteX12" fmla="*/ 0 w 351663"/>
                <a:gd name="connsiteY12" fmla="*/ 311311 h 338788"/>
                <a:gd name="connsiteX13" fmla="*/ 0 w 351663"/>
                <a:gd name="connsiteY13" fmla="*/ 334130 h 338788"/>
                <a:gd name="connsiteX14" fmla="*/ 124175 w 351663"/>
                <a:gd name="connsiteY14" fmla="*/ 334130 h 338788"/>
                <a:gd name="connsiteX15" fmla="*/ 124175 w 351663"/>
                <a:gd name="connsiteY15" fmla="*/ 311178 h 338788"/>
                <a:gd name="connsiteX16" fmla="*/ 119877 w 351663"/>
                <a:gd name="connsiteY16" fmla="*/ 311178 h 338788"/>
                <a:gd name="connsiteX17" fmla="*/ 94833 w 351663"/>
                <a:gd name="connsiteY17" fmla="*/ 267004 h 338788"/>
                <a:gd name="connsiteX18" fmla="*/ 94833 w 351663"/>
                <a:gd name="connsiteY18" fmla="*/ 201760 h 338788"/>
                <a:gd name="connsiteX19" fmla="*/ 134272 w 351663"/>
                <a:gd name="connsiteY19" fmla="*/ 201417 h 338788"/>
                <a:gd name="connsiteX20" fmla="*/ 187517 w 351663"/>
                <a:gd name="connsiteY20" fmla="*/ 249414 h 338788"/>
                <a:gd name="connsiteX21" fmla="*/ 214501 w 351663"/>
                <a:gd name="connsiteY21" fmla="*/ 276626 h 338788"/>
                <a:gd name="connsiteX22" fmla="*/ 230569 w 351663"/>
                <a:gd name="connsiteY22" fmla="*/ 293417 h 338788"/>
                <a:gd name="connsiteX23" fmla="*/ 241731 w 351663"/>
                <a:gd name="connsiteY23" fmla="*/ 305796 h 338788"/>
                <a:gd name="connsiteX24" fmla="*/ 327836 w 351663"/>
                <a:gd name="connsiteY24" fmla="*/ 338789 h 338788"/>
                <a:gd name="connsiteX25" fmla="*/ 346491 w 351663"/>
                <a:gd name="connsiteY25" fmla="*/ 338523 h 338788"/>
                <a:gd name="connsiteX26" fmla="*/ 351663 w 351663"/>
                <a:gd name="connsiteY26" fmla="*/ 338409 h 338788"/>
                <a:gd name="connsiteX27" fmla="*/ 351663 w 351663"/>
                <a:gd name="connsiteY27" fmla="*/ 315494 h 338788"/>
                <a:gd name="connsiteX28" fmla="*/ 346852 w 351663"/>
                <a:gd name="connsiteY28" fmla="*/ 315057 h 338788"/>
                <a:gd name="connsiteX29" fmla="*/ 346852 w 351663"/>
                <a:gd name="connsiteY29" fmla="*/ 315057 h 338788"/>
                <a:gd name="connsiteX30" fmla="*/ 309181 w 351663"/>
                <a:gd name="connsiteY30" fmla="*/ 287807 h 338788"/>
                <a:gd name="connsiteX31" fmla="*/ 278014 w 351663"/>
                <a:gd name="connsiteY31" fmla="*/ 255004 h 338788"/>
                <a:gd name="connsiteX32" fmla="*/ 193374 w 351663"/>
                <a:gd name="connsiteY32" fmla="*/ 101907 h 338788"/>
                <a:gd name="connsiteX33" fmla="*/ 106756 w 351663"/>
                <a:gd name="connsiteY33" fmla="*/ 178769 h 338788"/>
                <a:gd name="connsiteX34" fmla="*/ 94871 w 351663"/>
                <a:gd name="connsiteY34" fmla="*/ 178256 h 338788"/>
                <a:gd name="connsiteX35" fmla="*/ 94871 w 351663"/>
                <a:gd name="connsiteY35" fmla="*/ 24911 h 338788"/>
                <a:gd name="connsiteX36" fmla="*/ 116226 w 351663"/>
                <a:gd name="connsiteY36" fmla="*/ 24664 h 338788"/>
                <a:gd name="connsiteX37" fmla="*/ 193374 w 351663"/>
                <a:gd name="connsiteY37" fmla="*/ 101907 h 33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1663" h="338788">
                  <a:moveTo>
                    <a:pt x="236768" y="212960"/>
                  </a:moveTo>
                  <a:cubicBezTo>
                    <a:pt x="233193" y="209366"/>
                    <a:pt x="215470" y="191586"/>
                    <a:pt x="204061" y="181793"/>
                  </a:cubicBezTo>
                  <a:cubicBezTo>
                    <a:pt x="243994" y="162986"/>
                    <a:pt x="264170" y="134386"/>
                    <a:pt x="264170" y="96753"/>
                  </a:cubicBezTo>
                  <a:cubicBezTo>
                    <a:pt x="264170" y="67659"/>
                    <a:pt x="250270" y="0"/>
                    <a:pt x="121417" y="0"/>
                  </a:cubicBezTo>
                  <a:cubicBezTo>
                    <a:pt x="110863" y="0"/>
                    <a:pt x="86162" y="0"/>
                    <a:pt x="59007" y="1027"/>
                  </a:cubicBezTo>
                  <a:cubicBezTo>
                    <a:pt x="42634" y="1749"/>
                    <a:pt x="33031" y="2263"/>
                    <a:pt x="24607" y="2700"/>
                  </a:cubicBezTo>
                  <a:lnTo>
                    <a:pt x="10478" y="3651"/>
                  </a:lnTo>
                  <a:lnTo>
                    <a:pt x="10478" y="26946"/>
                  </a:lnTo>
                  <a:lnTo>
                    <a:pt x="14585" y="27136"/>
                  </a:lnTo>
                  <a:cubicBezTo>
                    <a:pt x="24759" y="27877"/>
                    <a:pt x="28619" y="30521"/>
                    <a:pt x="28752" y="40713"/>
                  </a:cubicBezTo>
                  <a:lnTo>
                    <a:pt x="28562" y="281722"/>
                  </a:lnTo>
                  <a:cubicBezTo>
                    <a:pt x="27935" y="301708"/>
                    <a:pt x="26660" y="310037"/>
                    <a:pt x="4336" y="311083"/>
                  </a:cubicBezTo>
                  <a:lnTo>
                    <a:pt x="0" y="311311"/>
                  </a:lnTo>
                  <a:lnTo>
                    <a:pt x="0" y="334130"/>
                  </a:lnTo>
                  <a:lnTo>
                    <a:pt x="124175" y="334130"/>
                  </a:lnTo>
                  <a:lnTo>
                    <a:pt x="124175" y="311178"/>
                  </a:lnTo>
                  <a:lnTo>
                    <a:pt x="119877" y="311178"/>
                  </a:lnTo>
                  <a:cubicBezTo>
                    <a:pt x="94814" y="309942"/>
                    <a:pt x="94833" y="304218"/>
                    <a:pt x="94833" y="267004"/>
                  </a:cubicBezTo>
                  <a:lnTo>
                    <a:pt x="94833" y="201760"/>
                  </a:lnTo>
                  <a:cubicBezTo>
                    <a:pt x="107973" y="202526"/>
                    <a:pt x="121151" y="202410"/>
                    <a:pt x="134272" y="201417"/>
                  </a:cubicBezTo>
                  <a:cubicBezTo>
                    <a:pt x="154334" y="216402"/>
                    <a:pt x="161864" y="223514"/>
                    <a:pt x="187517" y="249414"/>
                  </a:cubicBezTo>
                  <a:lnTo>
                    <a:pt x="214501" y="276626"/>
                  </a:lnTo>
                  <a:cubicBezTo>
                    <a:pt x="220624" y="282825"/>
                    <a:pt x="225910" y="288454"/>
                    <a:pt x="230569" y="293417"/>
                  </a:cubicBezTo>
                  <a:cubicBezTo>
                    <a:pt x="234791" y="297904"/>
                    <a:pt x="238461" y="302088"/>
                    <a:pt x="241731" y="305796"/>
                  </a:cubicBezTo>
                  <a:cubicBezTo>
                    <a:pt x="261698" y="328444"/>
                    <a:pt x="270826" y="338789"/>
                    <a:pt x="327836" y="338789"/>
                  </a:cubicBezTo>
                  <a:cubicBezTo>
                    <a:pt x="333541" y="338789"/>
                    <a:pt x="339607" y="338789"/>
                    <a:pt x="346491" y="338523"/>
                  </a:cubicBezTo>
                  <a:lnTo>
                    <a:pt x="351663" y="338409"/>
                  </a:lnTo>
                  <a:lnTo>
                    <a:pt x="351663" y="315494"/>
                  </a:lnTo>
                  <a:lnTo>
                    <a:pt x="346852" y="315057"/>
                  </a:lnTo>
                  <a:lnTo>
                    <a:pt x="346852" y="315057"/>
                  </a:lnTo>
                  <a:cubicBezTo>
                    <a:pt x="333408" y="313802"/>
                    <a:pt x="325326" y="305112"/>
                    <a:pt x="309181" y="287807"/>
                  </a:cubicBezTo>
                  <a:lnTo>
                    <a:pt x="278014" y="255004"/>
                  </a:lnTo>
                  <a:close/>
                  <a:moveTo>
                    <a:pt x="193374" y="101907"/>
                  </a:moveTo>
                  <a:cubicBezTo>
                    <a:pt x="193374" y="154676"/>
                    <a:pt x="169357" y="176354"/>
                    <a:pt x="106756" y="178769"/>
                  </a:cubicBezTo>
                  <a:cubicBezTo>
                    <a:pt x="104854" y="178769"/>
                    <a:pt x="99416" y="178769"/>
                    <a:pt x="94871" y="178256"/>
                  </a:cubicBezTo>
                  <a:lnTo>
                    <a:pt x="94871" y="24911"/>
                  </a:lnTo>
                  <a:cubicBezTo>
                    <a:pt x="101089" y="24664"/>
                    <a:pt x="110635" y="24664"/>
                    <a:pt x="116226" y="24664"/>
                  </a:cubicBezTo>
                  <a:cubicBezTo>
                    <a:pt x="167645" y="24645"/>
                    <a:pt x="193374" y="50621"/>
                    <a:pt x="193374" y="101907"/>
                  </a:cubicBezTo>
                  <a:close/>
                </a:path>
              </a:pathLst>
            </a:custGeom>
            <a:solidFill>
              <a:srgbClr val="000000"/>
            </a:solidFill>
            <a:ln w="190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B1AA03F2-117E-4EAF-9F82-422645DDC65D}"/>
                </a:ext>
              </a:extLst>
            </p:cNvPr>
            <p:cNvSpPr/>
            <p:nvPr/>
          </p:nvSpPr>
          <p:spPr>
            <a:xfrm>
              <a:off x="10279262" y="339029"/>
              <a:ext cx="336564" cy="329223"/>
            </a:xfrm>
            <a:custGeom>
              <a:avLst/>
              <a:gdLst>
                <a:gd name="connsiteX0" fmla="*/ 197272 w 336564"/>
                <a:gd name="connsiteY0" fmla="*/ 0 h 329223"/>
                <a:gd name="connsiteX1" fmla="*/ 147450 w 336564"/>
                <a:gd name="connsiteY1" fmla="*/ 0 h 329223"/>
                <a:gd name="connsiteX2" fmla="*/ 40580 w 336564"/>
                <a:gd name="connsiteY2" fmla="*/ 267289 h 329223"/>
                <a:gd name="connsiteX3" fmla="*/ 4241 w 336564"/>
                <a:gd name="connsiteY3" fmla="*/ 306119 h 329223"/>
                <a:gd name="connsiteX4" fmla="*/ 0 w 336564"/>
                <a:gd name="connsiteY4" fmla="*/ 306405 h 329223"/>
                <a:gd name="connsiteX5" fmla="*/ 0 w 336564"/>
                <a:gd name="connsiteY5" fmla="*/ 329224 h 329223"/>
                <a:gd name="connsiteX6" fmla="*/ 92171 w 336564"/>
                <a:gd name="connsiteY6" fmla="*/ 329224 h 329223"/>
                <a:gd name="connsiteX7" fmla="*/ 92171 w 336564"/>
                <a:gd name="connsiteY7" fmla="*/ 306576 h 329223"/>
                <a:gd name="connsiteX8" fmla="*/ 88025 w 336564"/>
                <a:gd name="connsiteY8" fmla="*/ 306214 h 329223"/>
                <a:gd name="connsiteX9" fmla="*/ 67469 w 336564"/>
                <a:gd name="connsiteY9" fmla="*/ 290602 h 329223"/>
                <a:gd name="connsiteX10" fmla="*/ 72394 w 336564"/>
                <a:gd name="connsiteY10" fmla="*/ 272081 h 329223"/>
                <a:gd name="connsiteX11" fmla="*/ 97115 w 336564"/>
                <a:gd name="connsiteY11" fmla="*/ 208263 h 329223"/>
                <a:gd name="connsiteX12" fmla="*/ 210716 w 336564"/>
                <a:gd name="connsiteY12" fmla="*/ 208263 h 329223"/>
                <a:gd name="connsiteX13" fmla="*/ 235437 w 336564"/>
                <a:gd name="connsiteY13" fmla="*/ 271929 h 329223"/>
                <a:gd name="connsiteX14" fmla="*/ 241807 w 336564"/>
                <a:gd name="connsiteY14" fmla="*/ 291991 h 329223"/>
                <a:gd name="connsiteX15" fmla="*/ 241960 w 336564"/>
                <a:gd name="connsiteY15" fmla="*/ 292751 h 329223"/>
                <a:gd name="connsiteX16" fmla="*/ 240267 w 336564"/>
                <a:gd name="connsiteY16" fmla="*/ 300224 h 329223"/>
                <a:gd name="connsiteX17" fmla="*/ 221879 w 336564"/>
                <a:gd name="connsiteY17" fmla="*/ 305815 h 329223"/>
                <a:gd name="connsiteX18" fmla="*/ 217695 w 336564"/>
                <a:gd name="connsiteY18" fmla="*/ 306138 h 329223"/>
                <a:gd name="connsiteX19" fmla="*/ 217695 w 336564"/>
                <a:gd name="connsiteY19" fmla="*/ 329148 h 329223"/>
                <a:gd name="connsiteX20" fmla="*/ 336564 w 336564"/>
                <a:gd name="connsiteY20" fmla="*/ 329148 h 329223"/>
                <a:gd name="connsiteX21" fmla="*/ 336564 w 336564"/>
                <a:gd name="connsiteY21" fmla="*/ 306557 h 329223"/>
                <a:gd name="connsiteX22" fmla="*/ 332229 w 336564"/>
                <a:gd name="connsiteY22" fmla="*/ 306329 h 329223"/>
                <a:gd name="connsiteX23" fmla="*/ 299901 w 336564"/>
                <a:gd name="connsiteY23" fmla="*/ 272537 h 329223"/>
                <a:gd name="connsiteX24" fmla="*/ 197614 w 336564"/>
                <a:gd name="connsiteY24" fmla="*/ 174091 h 329223"/>
                <a:gd name="connsiteX25" fmla="*/ 110141 w 336564"/>
                <a:gd name="connsiteY25" fmla="*/ 174091 h 329223"/>
                <a:gd name="connsiteX26" fmla="*/ 154562 w 336564"/>
                <a:gd name="connsiteY26" fmla="*/ 60129 h 32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6564" h="329223">
                  <a:moveTo>
                    <a:pt x="197272" y="0"/>
                  </a:moveTo>
                  <a:lnTo>
                    <a:pt x="147450" y="0"/>
                  </a:lnTo>
                  <a:lnTo>
                    <a:pt x="40580" y="267289"/>
                  </a:lnTo>
                  <a:cubicBezTo>
                    <a:pt x="27896" y="298912"/>
                    <a:pt x="25595" y="304617"/>
                    <a:pt x="4241" y="306119"/>
                  </a:cubicBezTo>
                  <a:lnTo>
                    <a:pt x="0" y="306405"/>
                  </a:lnTo>
                  <a:lnTo>
                    <a:pt x="0" y="329224"/>
                  </a:lnTo>
                  <a:lnTo>
                    <a:pt x="92171" y="329224"/>
                  </a:lnTo>
                  <a:lnTo>
                    <a:pt x="92171" y="306576"/>
                  </a:lnTo>
                  <a:lnTo>
                    <a:pt x="88025" y="306214"/>
                  </a:lnTo>
                  <a:cubicBezTo>
                    <a:pt x="70911" y="304313"/>
                    <a:pt x="66936" y="297809"/>
                    <a:pt x="67469" y="290602"/>
                  </a:cubicBezTo>
                  <a:cubicBezTo>
                    <a:pt x="67811" y="286096"/>
                    <a:pt x="69161" y="280790"/>
                    <a:pt x="72394" y="272081"/>
                  </a:cubicBezTo>
                  <a:lnTo>
                    <a:pt x="97115" y="208263"/>
                  </a:lnTo>
                  <a:lnTo>
                    <a:pt x="210716" y="208263"/>
                  </a:lnTo>
                  <a:lnTo>
                    <a:pt x="235437" y="271929"/>
                  </a:lnTo>
                  <a:cubicBezTo>
                    <a:pt x="239411" y="283205"/>
                    <a:pt x="240286" y="285392"/>
                    <a:pt x="241807" y="291991"/>
                  </a:cubicBezTo>
                  <a:lnTo>
                    <a:pt x="241960" y="292751"/>
                  </a:lnTo>
                  <a:cubicBezTo>
                    <a:pt x="242587" y="295370"/>
                    <a:pt x="241961" y="298131"/>
                    <a:pt x="240267" y="300224"/>
                  </a:cubicBezTo>
                  <a:cubicBezTo>
                    <a:pt x="237871" y="303229"/>
                    <a:pt x="231957" y="305035"/>
                    <a:pt x="221879" y="305815"/>
                  </a:cubicBezTo>
                  <a:lnTo>
                    <a:pt x="217695" y="306138"/>
                  </a:lnTo>
                  <a:lnTo>
                    <a:pt x="217695" y="329148"/>
                  </a:lnTo>
                  <a:lnTo>
                    <a:pt x="336564" y="329148"/>
                  </a:lnTo>
                  <a:lnTo>
                    <a:pt x="336564" y="306557"/>
                  </a:lnTo>
                  <a:lnTo>
                    <a:pt x="332229" y="306329"/>
                  </a:lnTo>
                  <a:cubicBezTo>
                    <a:pt x="311901" y="305397"/>
                    <a:pt x="310056" y="300377"/>
                    <a:pt x="299901" y="272537"/>
                  </a:cubicBezTo>
                  <a:close/>
                  <a:moveTo>
                    <a:pt x="197614" y="174091"/>
                  </a:moveTo>
                  <a:lnTo>
                    <a:pt x="110141" y="174091"/>
                  </a:lnTo>
                  <a:lnTo>
                    <a:pt x="154562" y="60129"/>
                  </a:lnTo>
                  <a:close/>
                </a:path>
              </a:pathLst>
            </a:custGeom>
            <a:solidFill>
              <a:srgbClr val="000000"/>
            </a:solidFill>
            <a:ln w="1900"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F4478C33-4DE7-48E1-878B-B4AFCDE1C843}"/>
                </a:ext>
              </a:extLst>
            </p:cNvPr>
            <p:cNvSpPr/>
            <p:nvPr/>
          </p:nvSpPr>
          <p:spPr>
            <a:xfrm>
              <a:off x="10972339" y="330434"/>
              <a:ext cx="355447" cy="345976"/>
            </a:xfrm>
            <a:custGeom>
              <a:avLst/>
              <a:gdLst>
                <a:gd name="connsiteX0" fmla="*/ 177724 w 355447"/>
                <a:gd name="connsiteY0" fmla="*/ 0 h 345976"/>
                <a:gd name="connsiteX1" fmla="*/ 0 w 355447"/>
                <a:gd name="connsiteY1" fmla="*/ 181755 h 345976"/>
                <a:gd name="connsiteX2" fmla="*/ 175822 w 355447"/>
                <a:gd name="connsiteY2" fmla="*/ 345977 h 345976"/>
                <a:gd name="connsiteX3" fmla="*/ 355447 w 355447"/>
                <a:gd name="connsiteY3" fmla="*/ 167322 h 345976"/>
                <a:gd name="connsiteX4" fmla="*/ 177724 w 355447"/>
                <a:gd name="connsiteY4" fmla="*/ 0 h 345976"/>
                <a:gd name="connsiteX5" fmla="*/ 288948 w 355447"/>
                <a:gd name="connsiteY5" fmla="*/ 180196 h 345976"/>
                <a:gd name="connsiteX6" fmla="*/ 183409 w 355447"/>
                <a:gd name="connsiteY6" fmla="*/ 320381 h 345976"/>
                <a:gd name="connsiteX7" fmla="*/ 66518 w 355447"/>
                <a:gd name="connsiteY7" fmla="*/ 167835 h 345976"/>
                <a:gd name="connsiteX8" fmla="*/ 173920 w 355447"/>
                <a:gd name="connsiteY8" fmla="*/ 25577 h 345976"/>
                <a:gd name="connsiteX9" fmla="*/ 288948 w 355447"/>
                <a:gd name="connsiteY9" fmla="*/ 180196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447" h="345976">
                  <a:moveTo>
                    <a:pt x="177724" y="0"/>
                  </a:moveTo>
                  <a:cubicBezTo>
                    <a:pt x="74676" y="0"/>
                    <a:pt x="0" y="76425"/>
                    <a:pt x="0" y="181755"/>
                  </a:cubicBezTo>
                  <a:cubicBezTo>
                    <a:pt x="0" y="276835"/>
                    <a:pt x="73953" y="345977"/>
                    <a:pt x="175822" y="345977"/>
                  </a:cubicBezTo>
                  <a:cubicBezTo>
                    <a:pt x="278223" y="345977"/>
                    <a:pt x="355447" y="269171"/>
                    <a:pt x="355447" y="167322"/>
                  </a:cubicBezTo>
                  <a:cubicBezTo>
                    <a:pt x="355447" y="68800"/>
                    <a:pt x="282369" y="0"/>
                    <a:pt x="177724" y="0"/>
                  </a:cubicBezTo>
                  <a:close/>
                  <a:moveTo>
                    <a:pt x="288948" y="180196"/>
                  </a:moveTo>
                  <a:cubicBezTo>
                    <a:pt x="288948" y="264056"/>
                    <a:pt x="246543" y="320381"/>
                    <a:pt x="183409" y="320381"/>
                  </a:cubicBezTo>
                  <a:cubicBezTo>
                    <a:pt x="125316" y="320381"/>
                    <a:pt x="66518" y="267973"/>
                    <a:pt x="66518" y="167835"/>
                  </a:cubicBezTo>
                  <a:cubicBezTo>
                    <a:pt x="66518" y="80095"/>
                    <a:pt x="107669" y="25577"/>
                    <a:pt x="173920" y="25577"/>
                  </a:cubicBezTo>
                  <a:cubicBezTo>
                    <a:pt x="241636" y="25577"/>
                    <a:pt x="288948" y="89166"/>
                    <a:pt x="288948" y="180196"/>
                  </a:cubicBezTo>
                  <a:close/>
                </a:path>
              </a:pathLst>
            </a:custGeom>
            <a:solidFill>
              <a:srgbClr val="000000"/>
            </a:solidFill>
            <a:ln w="1900"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ED1EB51D-7F27-4FE9-88E5-C9AA3C678DEF}"/>
                </a:ext>
              </a:extLst>
            </p:cNvPr>
            <p:cNvSpPr/>
            <p:nvPr/>
          </p:nvSpPr>
          <p:spPr>
            <a:xfrm>
              <a:off x="10629233" y="330434"/>
              <a:ext cx="319735" cy="345976"/>
            </a:xfrm>
            <a:custGeom>
              <a:avLst/>
              <a:gdLst>
                <a:gd name="connsiteX0" fmla="*/ 319735 w 319735"/>
                <a:gd name="connsiteY0" fmla="*/ 268620 h 345976"/>
                <a:gd name="connsiteX1" fmla="*/ 293455 w 319735"/>
                <a:gd name="connsiteY1" fmla="*/ 268943 h 345976"/>
                <a:gd name="connsiteX2" fmla="*/ 292143 w 319735"/>
                <a:gd name="connsiteY2" fmla="*/ 270750 h 345976"/>
                <a:gd name="connsiteX3" fmla="*/ 193260 w 319735"/>
                <a:gd name="connsiteY3" fmla="*/ 318290 h 345976"/>
                <a:gd name="connsiteX4" fmla="*/ 114134 w 319735"/>
                <a:gd name="connsiteY4" fmla="*/ 286875 h 345976"/>
                <a:gd name="connsiteX5" fmla="*/ 67792 w 319735"/>
                <a:gd name="connsiteY5" fmla="*/ 165743 h 345976"/>
                <a:gd name="connsiteX6" fmla="*/ 184588 w 319735"/>
                <a:gd name="connsiteY6" fmla="*/ 25538 h 345976"/>
                <a:gd name="connsiteX7" fmla="*/ 291382 w 319735"/>
                <a:gd name="connsiteY7" fmla="*/ 81864 h 345976"/>
                <a:gd name="connsiteX8" fmla="*/ 292675 w 319735"/>
                <a:gd name="connsiteY8" fmla="*/ 84412 h 345976"/>
                <a:gd name="connsiteX9" fmla="*/ 314449 w 319735"/>
                <a:gd name="connsiteY9" fmla="*/ 84070 h 345976"/>
                <a:gd name="connsiteX10" fmla="*/ 312338 w 319735"/>
                <a:gd name="connsiteY10" fmla="*/ 14851 h 345976"/>
                <a:gd name="connsiteX11" fmla="*/ 294482 w 319735"/>
                <a:gd name="connsiteY11" fmla="*/ 14851 h 345976"/>
                <a:gd name="connsiteX12" fmla="*/ 293550 w 319735"/>
                <a:gd name="connsiteY12" fmla="*/ 15479 h 345976"/>
                <a:gd name="connsiteX13" fmla="*/ 286761 w 319735"/>
                <a:gd name="connsiteY13" fmla="*/ 16981 h 345976"/>
                <a:gd name="connsiteX14" fmla="*/ 266053 w 319735"/>
                <a:gd name="connsiteY14" fmla="*/ 12608 h 345976"/>
                <a:gd name="connsiteX15" fmla="*/ 182668 w 319735"/>
                <a:gd name="connsiteY15" fmla="*/ 0 h 345976"/>
                <a:gd name="connsiteX16" fmla="*/ 0 w 319735"/>
                <a:gd name="connsiteY16" fmla="*/ 179150 h 345976"/>
                <a:gd name="connsiteX17" fmla="*/ 178750 w 319735"/>
                <a:gd name="connsiteY17" fmla="*/ 345977 h 345976"/>
                <a:gd name="connsiteX18" fmla="*/ 242682 w 319735"/>
                <a:gd name="connsiteY18" fmla="*/ 338580 h 345976"/>
                <a:gd name="connsiteX19" fmla="*/ 275865 w 319735"/>
                <a:gd name="connsiteY19" fmla="*/ 334111 h 345976"/>
                <a:gd name="connsiteX20" fmla="*/ 280733 w 319735"/>
                <a:gd name="connsiteY20" fmla="*/ 333959 h 345976"/>
                <a:gd name="connsiteX21" fmla="*/ 291458 w 319735"/>
                <a:gd name="connsiteY21" fmla="*/ 334206 h 345976"/>
                <a:gd name="connsiteX22" fmla="*/ 296345 w 319735"/>
                <a:gd name="connsiteY22" fmla="*/ 334681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735" h="345976">
                  <a:moveTo>
                    <a:pt x="319735" y="268620"/>
                  </a:moveTo>
                  <a:lnTo>
                    <a:pt x="293455" y="268943"/>
                  </a:lnTo>
                  <a:lnTo>
                    <a:pt x="292143" y="270750"/>
                  </a:lnTo>
                  <a:cubicBezTo>
                    <a:pt x="265520" y="303533"/>
                    <a:pt x="237700" y="316863"/>
                    <a:pt x="193260" y="318290"/>
                  </a:cubicBezTo>
                  <a:cubicBezTo>
                    <a:pt x="163614" y="319355"/>
                    <a:pt x="136345" y="308382"/>
                    <a:pt x="114134" y="286875"/>
                  </a:cubicBezTo>
                  <a:cubicBezTo>
                    <a:pt x="84678" y="258351"/>
                    <a:pt x="67792" y="214215"/>
                    <a:pt x="67792" y="165743"/>
                  </a:cubicBezTo>
                  <a:cubicBezTo>
                    <a:pt x="67792" y="81883"/>
                    <a:pt x="114724" y="25538"/>
                    <a:pt x="184588" y="25538"/>
                  </a:cubicBezTo>
                  <a:cubicBezTo>
                    <a:pt x="233612" y="25538"/>
                    <a:pt x="274534" y="47103"/>
                    <a:pt x="291382" y="81864"/>
                  </a:cubicBezTo>
                  <a:lnTo>
                    <a:pt x="292675" y="84412"/>
                  </a:lnTo>
                  <a:lnTo>
                    <a:pt x="314449" y="84070"/>
                  </a:lnTo>
                  <a:lnTo>
                    <a:pt x="312338" y="14851"/>
                  </a:lnTo>
                  <a:lnTo>
                    <a:pt x="294482" y="14851"/>
                  </a:lnTo>
                  <a:lnTo>
                    <a:pt x="293550" y="15479"/>
                  </a:lnTo>
                  <a:cubicBezTo>
                    <a:pt x="291498" y="16674"/>
                    <a:pt x="289125" y="17199"/>
                    <a:pt x="286761" y="16981"/>
                  </a:cubicBezTo>
                  <a:cubicBezTo>
                    <a:pt x="282559" y="16829"/>
                    <a:pt x="275352" y="15080"/>
                    <a:pt x="266053" y="12608"/>
                  </a:cubicBezTo>
                  <a:cubicBezTo>
                    <a:pt x="246999" y="7606"/>
                    <a:pt x="218114" y="0"/>
                    <a:pt x="182668" y="0"/>
                  </a:cubicBezTo>
                  <a:cubicBezTo>
                    <a:pt x="56478" y="0"/>
                    <a:pt x="0" y="89965"/>
                    <a:pt x="0" y="179150"/>
                  </a:cubicBezTo>
                  <a:cubicBezTo>
                    <a:pt x="0" y="280486"/>
                    <a:pt x="70169" y="345977"/>
                    <a:pt x="178750" y="345977"/>
                  </a:cubicBezTo>
                  <a:cubicBezTo>
                    <a:pt x="203015" y="345977"/>
                    <a:pt x="224940" y="341888"/>
                    <a:pt x="242682" y="338580"/>
                  </a:cubicBezTo>
                  <a:cubicBezTo>
                    <a:pt x="254643" y="336336"/>
                    <a:pt x="266167" y="334320"/>
                    <a:pt x="275865" y="334111"/>
                  </a:cubicBezTo>
                  <a:cubicBezTo>
                    <a:pt x="277995" y="334111"/>
                    <a:pt x="279478" y="334111"/>
                    <a:pt x="280733" y="333959"/>
                  </a:cubicBezTo>
                  <a:cubicBezTo>
                    <a:pt x="284310" y="333862"/>
                    <a:pt x="287889" y="333944"/>
                    <a:pt x="291458" y="334206"/>
                  </a:cubicBezTo>
                  <a:lnTo>
                    <a:pt x="296345" y="334681"/>
                  </a:lnTo>
                  <a:close/>
                </a:path>
              </a:pathLst>
            </a:custGeom>
            <a:solidFill>
              <a:srgbClr val="000000"/>
            </a:solidFill>
            <a:ln w="1900" cap="flat">
              <a:noFill/>
              <a:prstDash val="solid"/>
              <a:miter/>
            </a:ln>
          </p:spPr>
          <p:txBody>
            <a:bodyPr rtlCol="0" anchor="ctr"/>
            <a:lstStyle/>
            <a:p>
              <a:endParaRPr lang="de-DE"/>
            </a:p>
          </p:txBody>
        </p:sp>
      </p:grpSp>
    </p:spTree>
    <p:extLst>
      <p:ext uri="{BB962C8B-B14F-4D97-AF65-F5344CB8AC3E}">
        <p14:creationId xmlns:p14="http://schemas.microsoft.com/office/powerpoint/2010/main" val="342552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hne Kapite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CB3E16-BDB1-4B12-BCB4-BE0C62CD3AF3}"/>
              </a:ext>
            </a:extLst>
          </p:cNvPr>
          <p:cNvGraphicFramePr>
            <a:graphicFrameLocks noChangeAspect="1"/>
          </p:cNvGraphicFramePr>
          <p:nvPr userDrawn="1">
            <p:custDataLst>
              <p:tags r:id="rId1"/>
            </p:custDataLst>
            <p:extLst>
              <p:ext uri="{D42A27DB-BD31-4B8C-83A1-F6EECF244321}">
                <p14:modId xmlns:p14="http://schemas.microsoft.com/office/powerpoint/2010/main" val="26619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26CB3E16-BDB1-4B12-BCB4-BE0C62CD3A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B9A5A66-2B64-4FC8-921F-E61A9C90031A}"/>
              </a:ext>
            </a:extLst>
          </p:cNvPr>
          <p:cNvSpPr/>
          <p:nvPr userDrawn="1">
            <p:custDataLst>
              <p:tags r:id="rId2"/>
            </p:custDataLst>
          </p:nvPr>
        </p:nvSpPr>
        <p:spPr>
          <a:xfrm>
            <a:off x="0" y="0"/>
            <a:ext cx="158750" cy="158750"/>
          </a:xfrm>
          <a:prstGeom prst="rect">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2" name="Title 1">
            <a:extLst>
              <a:ext uri="{FF2B5EF4-FFF2-40B4-BE49-F238E27FC236}">
                <a16:creationId xmlns:a16="http://schemas.microsoft.com/office/drawing/2014/main" id="{107996DB-7DB5-4DAA-97DC-3B4F449BFB53}"/>
              </a:ext>
            </a:extLst>
          </p:cNvPr>
          <p:cNvSpPr>
            <a:spLocks noGrp="1"/>
          </p:cNvSpPr>
          <p:nvPr>
            <p:ph type="title" hasCustomPrompt="1"/>
          </p:nvPr>
        </p:nvSpPr>
        <p:spPr/>
        <p:txBody>
          <a:bodyPr/>
          <a:lstStyle/>
          <a:p>
            <a:r>
              <a:rPr lang="de-DE" noProof="0" dirty="0"/>
              <a:t>Mastertitelformat bearbeiten</a:t>
            </a:r>
            <a:endParaRPr lang="de-DE" dirty="0"/>
          </a:p>
        </p:txBody>
      </p:sp>
      <p:sp>
        <p:nvSpPr>
          <p:cNvPr id="3" name="Content Placeholder 2">
            <a:extLst>
              <a:ext uri="{FF2B5EF4-FFF2-40B4-BE49-F238E27FC236}">
                <a16:creationId xmlns:a16="http://schemas.microsoft.com/office/drawing/2014/main" id="{FA1DE991-3696-41D4-B31D-CE83FB281D30}"/>
              </a:ext>
            </a:extLst>
          </p:cNvPr>
          <p:cNvSpPr>
            <a:spLocks noGrp="1"/>
          </p:cNvSpPr>
          <p:nvPr>
            <p:ph idx="1" hasCustomPrompt="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a:extLst>
              <a:ext uri="{FF2B5EF4-FFF2-40B4-BE49-F238E27FC236}">
                <a16:creationId xmlns:a16="http://schemas.microsoft.com/office/drawing/2014/main" id="{750EAC4D-F163-4920-9A73-294C34F85226}"/>
              </a:ext>
            </a:extLst>
          </p:cNvPr>
          <p:cNvSpPr>
            <a:spLocks noGrp="1"/>
          </p:cNvSpPr>
          <p:nvPr>
            <p:ph type="dt" sz="half" idx="10"/>
          </p:nvPr>
        </p:nvSpPr>
        <p:spPr/>
        <p:txBody>
          <a:bodyPr/>
          <a:lstStyle/>
          <a:p>
            <a:fld id="{62617C13-86F7-470E-8828-65CC1372C3B0}" type="datetime4">
              <a:rPr lang="de-DE" smtClean="0"/>
              <a:t>29. November 2022</a:t>
            </a:fld>
            <a:endParaRPr lang="de-DE" dirty="0"/>
          </a:p>
        </p:txBody>
      </p:sp>
      <p:sp>
        <p:nvSpPr>
          <p:cNvPr id="5" name="Slide Number Placeholder 4">
            <a:extLst>
              <a:ext uri="{FF2B5EF4-FFF2-40B4-BE49-F238E27FC236}">
                <a16:creationId xmlns:a16="http://schemas.microsoft.com/office/drawing/2014/main" id="{9C7A29DB-7A7D-4F7D-9BF4-90DF772CE3BB}"/>
              </a:ext>
            </a:extLst>
          </p:cNvPr>
          <p:cNvSpPr>
            <a:spLocks noGrp="1"/>
          </p:cNvSpPr>
          <p:nvPr>
            <p:ph type="sldNum" sz="quarter" idx="11"/>
          </p:nvPr>
        </p:nvSpPr>
        <p:spPr/>
        <p:txBody>
          <a:bodyPr/>
          <a:lstStyle/>
          <a:p>
            <a:fld id="{C50CBA42-791E-4851-9FB4-39A223136DC3}" type="slidenum">
              <a:rPr lang="de-DE" smtClean="0"/>
              <a:t>‹#›</a:t>
            </a:fld>
            <a:endParaRPr lang="de-DE"/>
          </a:p>
        </p:txBody>
      </p:sp>
      <p:sp>
        <p:nvSpPr>
          <p:cNvPr id="6" name="Footer Placeholder 5">
            <a:extLst>
              <a:ext uri="{FF2B5EF4-FFF2-40B4-BE49-F238E27FC236}">
                <a16:creationId xmlns:a16="http://schemas.microsoft.com/office/drawing/2014/main" id="{323AD02F-011F-44B9-AE73-257DB2DCBBAD}"/>
              </a:ext>
            </a:extLst>
          </p:cNvPr>
          <p:cNvSpPr>
            <a:spLocks noGrp="1"/>
          </p:cNvSpPr>
          <p:nvPr>
            <p:ph type="ftr" sz="quarter" idx="12"/>
          </p:nvPr>
        </p:nvSpPr>
        <p:spPr/>
        <p:txBody>
          <a:bodyPr/>
          <a:lstStyle/>
          <a:p>
            <a:r>
              <a:rPr lang="de-DE"/>
              <a:t>Senacor Technologies AG</a:t>
            </a:r>
            <a:endParaRPr lang="de-DE" dirty="0"/>
          </a:p>
        </p:txBody>
      </p:sp>
    </p:spTree>
    <p:extLst>
      <p:ext uri="{BB962C8B-B14F-4D97-AF65-F5344CB8AC3E}">
        <p14:creationId xmlns:p14="http://schemas.microsoft.com/office/powerpoint/2010/main" val="1948789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ontak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03889B5-5769-4D31-B1F9-4724D3A628C4}"/>
              </a:ext>
            </a:extLst>
          </p:cNvPr>
          <p:cNvGraphicFramePr>
            <a:graphicFrameLocks noChangeAspect="1"/>
          </p:cNvGraphicFramePr>
          <p:nvPr>
            <p:custDataLst>
              <p:tags r:id="rId1"/>
            </p:custDataLst>
            <p:extLst>
              <p:ext uri="{D42A27DB-BD31-4B8C-83A1-F6EECF244321}">
                <p14:modId xmlns:p14="http://schemas.microsoft.com/office/powerpoint/2010/main" val="425266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kt 7" hidden="1">
                        <a:extLst>
                          <a:ext uri="{FF2B5EF4-FFF2-40B4-BE49-F238E27FC236}">
                            <a16:creationId xmlns:a16="http://schemas.microsoft.com/office/drawing/2014/main" id="{F03889B5-5769-4D31-B1F9-4724D3A628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7E9E9310-804D-43C9-A137-B7D9C63A9A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14" name="Rechteck 13">
            <a:extLst>
              <a:ext uri="{FF2B5EF4-FFF2-40B4-BE49-F238E27FC236}">
                <a16:creationId xmlns:a16="http://schemas.microsoft.com/office/drawing/2014/main" id="{0E741EA5-5CD3-4B6D-A654-564CC372A38B}"/>
              </a:ext>
            </a:extLst>
          </p:cNvPr>
          <p:cNvSpPr/>
          <p:nvPr/>
        </p:nvSpPr>
        <p:spPr>
          <a:xfrm>
            <a:off x="479425" y="3726357"/>
            <a:ext cx="684000" cy="3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itel 1">
            <a:extLst>
              <a:ext uri="{FF2B5EF4-FFF2-40B4-BE49-F238E27FC236}">
                <a16:creationId xmlns:a16="http://schemas.microsoft.com/office/drawing/2014/main" id="{24766ED2-A7F5-411A-B424-BD22AAB729CD}"/>
              </a:ext>
            </a:extLst>
          </p:cNvPr>
          <p:cNvSpPr txBox="1">
            <a:spLocks/>
          </p:cNvSpPr>
          <p:nvPr/>
        </p:nvSpPr>
        <p:spPr>
          <a:xfrm>
            <a:off x="479425" y="3120518"/>
            <a:ext cx="9180513" cy="4985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3600" b="1" kern="1200" cap="all" baseline="0">
                <a:solidFill>
                  <a:schemeClr val="tx1"/>
                </a:solidFill>
                <a:latin typeface="+mn-lt"/>
                <a:ea typeface="Malgun Gothic Semilight" panose="020B0502040204020203" pitchFamily="34" charset="-128"/>
                <a:cs typeface="Malgun Gothic Semilight" panose="020B0502040204020203" pitchFamily="34" charset="-128"/>
              </a:defRPr>
            </a:lvl1pPr>
          </a:lstStyle>
          <a:p>
            <a:r>
              <a:rPr lang="de-DE" dirty="0"/>
              <a:t>kontakt</a:t>
            </a:r>
          </a:p>
        </p:txBody>
      </p:sp>
      <p:sp>
        <p:nvSpPr>
          <p:cNvPr id="12" name="Titel 1">
            <a:extLst>
              <a:ext uri="{FF2B5EF4-FFF2-40B4-BE49-F238E27FC236}">
                <a16:creationId xmlns:a16="http://schemas.microsoft.com/office/drawing/2014/main" id="{C1DDDB79-180F-4FD5-A2D7-8F5E9B5E6C09}"/>
              </a:ext>
            </a:extLst>
          </p:cNvPr>
          <p:cNvSpPr>
            <a:spLocks noGrp="1"/>
          </p:cNvSpPr>
          <p:nvPr>
            <p:ph type="ctrTitle" hasCustomPrompt="1"/>
          </p:nvPr>
        </p:nvSpPr>
        <p:spPr>
          <a:xfrm>
            <a:off x="479425" y="4280883"/>
            <a:ext cx="2937920" cy="332399"/>
          </a:xfrm>
        </p:spPr>
        <p:txBody>
          <a:bodyPr wrap="none" lIns="0" tIns="0" rIns="0" bIns="0" anchor="b" anchorCtr="0">
            <a:spAutoFit/>
          </a:bodyPr>
          <a:lstStyle>
            <a:lvl1pPr algn="l">
              <a:defRPr sz="2400" b="1" cap="none" baseline="0">
                <a:solidFill>
                  <a:schemeClr val="tx1"/>
                </a:solidFill>
                <a:latin typeface="+mn-lt"/>
              </a:defRPr>
            </a:lvl1pPr>
          </a:lstStyle>
          <a:p>
            <a:r>
              <a:rPr lang="de-DE" dirty="0"/>
              <a:t>Vorname Nachname</a:t>
            </a:r>
          </a:p>
        </p:txBody>
      </p:sp>
      <p:sp>
        <p:nvSpPr>
          <p:cNvPr id="13" name="Textplatzhalter 15">
            <a:extLst>
              <a:ext uri="{FF2B5EF4-FFF2-40B4-BE49-F238E27FC236}">
                <a16:creationId xmlns:a16="http://schemas.microsoft.com/office/drawing/2014/main" id="{9094F639-8501-4BBB-BEDA-A0D90CAFB74C}"/>
              </a:ext>
            </a:extLst>
          </p:cNvPr>
          <p:cNvSpPr>
            <a:spLocks noGrp="1"/>
          </p:cNvSpPr>
          <p:nvPr>
            <p:ph type="body" sz="quarter" idx="10" hasCustomPrompt="1"/>
          </p:nvPr>
        </p:nvSpPr>
        <p:spPr>
          <a:xfrm>
            <a:off x="479425" y="5053920"/>
            <a:ext cx="2777748" cy="430887"/>
          </a:xfrm>
          <a:prstGeom prst="rect">
            <a:avLst/>
          </a:prstGeom>
        </p:spPr>
        <p:txBody>
          <a:bodyPr wrap="none" lIns="0" tIns="0" rIns="0" bIns="0" anchor="t">
            <a:spAutoFit/>
          </a:bodyPr>
          <a:lstStyle>
            <a:lvl1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sz="1400" b="0" cap="none" baseline="0">
                <a:solidFill>
                  <a:schemeClr val="tx1"/>
                </a:solidFill>
              </a:defRPr>
            </a:lvl1pPr>
          </a:lstStyle>
          <a:p>
            <a:pPr lvl="0"/>
            <a:r>
              <a:rPr lang="de-DE" dirty="0"/>
              <a:t>T +49 XXXX XXX XX </a:t>
            </a:r>
            <a:r>
              <a:rPr lang="de-DE" dirty="0" err="1"/>
              <a:t>XX</a:t>
            </a:r>
            <a:br>
              <a:rPr lang="de-DE" dirty="0"/>
            </a:br>
            <a:r>
              <a:rPr lang="de-DE" dirty="0"/>
              <a:t>vorname.nachname@senacor.com</a:t>
            </a:r>
          </a:p>
        </p:txBody>
      </p:sp>
      <p:sp>
        <p:nvSpPr>
          <p:cNvPr id="15" name="Textplatzhalter 15">
            <a:extLst>
              <a:ext uri="{FF2B5EF4-FFF2-40B4-BE49-F238E27FC236}">
                <a16:creationId xmlns:a16="http://schemas.microsoft.com/office/drawing/2014/main" id="{6AF72ADE-F411-4A86-8646-208BC9AF2990}"/>
              </a:ext>
            </a:extLst>
          </p:cNvPr>
          <p:cNvSpPr>
            <a:spLocks noGrp="1"/>
          </p:cNvSpPr>
          <p:nvPr>
            <p:ph type="body" sz="quarter" idx="13" hasCustomPrompt="1"/>
          </p:nvPr>
        </p:nvSpPr>
        <p:spPr>
          <a:xfrm>
            <a:off x="479425" y="4645127"/>
            <a:ext cx="637995" cy="215444"/>
          </a:xfrm>
          <a:prstGeom prst="rect">
            <a:avLst/>
          </a:prstGeom>
        </p:spPr>
        <p:txBody>
          <a:bodyPr wrap="none" lIns="0" tIns="0" rIns="0" bIns="0" anchor="t" anchorCtr="0">
            <a:spAutoFit/>
          </a:bodyPr>
          <a:lstStyle>
            <a:lvl1pPr marL="0" indent="0">
              <a:lnSpc>
                <a:spcPct val="100000"/>
              </a:lnSpc>
              <a:spcBef>
                <a:spcPts val="0"/>
              </a:spcBef>
              <a:spcAft>
                <a:spcPts val="0"/>
              </a:spcAft>
              <a:buNone/>
              <a:defRPr lang="de-DE" sz="1400" b="0" kern="1200" cap="none" baseline="0" dirty="0">
                <a:solidFill>
                  <a:schemeClr val="tx1"/>
                </a:solidFill>
                <a:latin typeface="+mn-lt"/>
                <a:ea typeface="+mn-ea"/>
                <a:cs typeface="+mn-cs"/>
              </a:defRPr>
            </a:lvl1pPr>
          </a:lstStyle>
          <a:p>
            <a:pPr lvl="0"/>
            <a:r>
              <a:rPr lang="de-DE" dirty="0"/>
              <a:t>Position</a:t>
            </a:r>
          </a:p>
        </p:txBody>
      </p:sp>
      <p:sp>
        <p:nvSpPr>
          <p:cNvPr id="18" name="Textfeld 48">
            <a:extLst>
              <a:ext uri="{FF2B5EF4-FFF2-40B4-BE49-F238E27FC236}">
                <a16:creationId xmlns:a16="http://schemas.microsoft.com/office/drawing/2014/main" id="{44D5D767-BC17-4768-9511-7DF1AFA69E76}"/>
              </a:ext>
            </a:extLst>
          </p:cNvPr>
          <p:cNvSpPr txBox="1"/>
          <p:nvPr/>
        </p:nvSpPr>
        <p:spPr>
          <a:xfrm>
            <a:off x="479425" y="5902697"/>
            <a:ext cx="1443793" cy="215444"/>
          </a:xfrm>
          <a:prstGeom prst="rect">
            <a:avLst/>
          </a:prstGeom>
          <a:noFill/>
        </p:spPr>
        <p:txBody>
          <a:bodyPr wrap="none" lIns="0" tIns="0" rIns="0" bIns="0" rtlCol="0">
            <a:spAutoFit/>
          </a:bodyPr>
          <a:lstStyle/>
          <a:p>
            <a:pPr marL="0" indent="0" algn="l">
              <a:buFont typeface="Wingdings" panose="05000000000000000000" pitchFamily="2" charset="2"/>
              <a:buNone/>
            </a:pPr>
            <a:r>
              <a:rPr lang="de-DE" sz="1400" dirty="0">
                <a:solidFill>
                  <a:schemeClr val="tx1"/>
                </a:solidFill>
              </a:rPr>
              <a:t>www.senacor.com</a:t>
            </a:r>
          </a:p>
        </p:txBody>
      </p:sp>
      <p:sp>
        <p:nvSpPr>
          <p:cNvPr id="21" name="Textplatzhalter 15">
            <a:extLst>
              <a:ext uri="{FF2B5EF4-FFF2-40B4-BE49-F238E27FC236}">
                <a16:creationId xmlns:a16="http://schemas.microsoft.com/office/drawing/2014/main" id="{7751DF04-5E01-4487-8574-D3F951006788}"/>
              </a:ext>
            </a:extLst>
          </p:cNvPr>
          <p:cNvSpPr>
            <a:spLocks noGrp="1"/>
          </p:cNvSpPr>
          <p:nvPr>
            <p:ph type="body" sz="quarter" idx="16" hasCustomPrompt="1"/>
          </p:nvPr>
        </p:nvSpPr>
        <p:spPr>
          <a:xfrm>
            <a:off x="5973539" y="4645127"/>
            <a:ext cx="637995" cy="215444"/>
          </a:xfrm>
          <a:prstGeom prst="rect">
            <a:avLst/>
          </a:prstGeom>
        </p:spPr>
        <p:txBody>
          <a:bodyPr wrap="none" lIns="0" tIns="0" rIns="0" bIns="0" anchor="t" anchorCtr="0">
            <a:spAutoFit/>
          </a:bodyPr>
          <a:lstStyle>
            <a:lvl1pPr marL="0" indent="0">
              <a:lnSpc>
                <a:spcPct val="100000"/>
              </a:lnSpc>
              <a:spcBef>
                <a:spcPts val="0"/>
              </a:spcBef>
              <a:spcAft>
                <a:spcPts val="0"/>
              </a:spcAft>
              <a:buNone/>
              <a:defRPr lang="de-DE" sz="1400" b="0" kern="1200" cap="none" baseline="0" dirty="0">
                <a:solidFill>
                  <a:schemeClr val="tx1"/>
                </a:solidFill>
                <a:latin typeface="+mn-lt"/>
                <a:ea typeface="+mn-ea"/>
                <a:cs typeface="+mn-cs"/>
              </a:defRPr>
            </a:lvl1pPr>
          </a:lstStyle>
          <a:p>
            <a:pPr lvl="0"/>
            <a:r>
              <a:rPr lang="de-DE" dirty="0"/>
              <a:t>Position</a:t>
            </a:r>
          </a:p>
        </p:txBody>
      </p:sp>
      <p:sp>
        <p:nvSpPr>
          <p:cNvPr id="26" name="Text Placeholder 25">
            <a:extLst>
              <a:ext uri="{FF2B5EF4-FFF2-40B4-BE49-F238E27FC236}">
                <a16:creationId xmlns:a16="http://schemas.microsoft.com/office/drawing/2014/main" id="{C766E230-C429-40D7-88CD-C08E08109EE7}"/>
              </a:ext>
            </a:extLst>
          </p:cNvPr>
          <p:cNvSpPr>
            <a:spLocks noGrp="1"/>
          </p:cNvSpPr>
          <p:nvPr>
            <p:ph type="body" sz="quarter" idx="18" hasCustomPrompt="1"/>
          </p:nvPr>
        </p:nvSpPr>
        <p:spPr>
          <a:xfrm>
            <a:off x="5973539" y="4280883"/>
            <a:ext cx="2937920" cy="332399"/>
          </a:xfrm>
        </p:spPr>
        <p:txBody>
          <a:bodyPr wrap="none" anchor="b" anchorCtr="0">
            <a:spAutoFit/>
          </a:bodyPr>
          <a:lstStyle>
            <a:lvl1pPr algn="l" defTabSz="914400" rtl="0" eaLnBrk="1" latinLnBrk="0" hangingPunct="1">
              <a:lnSpc>
                <a:spcPct val="90000"/>
              </a:lnSpc>
              <a:spcBef>
                <a:spcPct val="0"/>
              </a:spcBef>
              <a:spcAft>
                <a:spcPts val="0"/>
              </a:spcAft>
              <a:buNone/>
              <a:defRPr lang="de-DE" sz="2400" b="1" kern="1200" cap="none" baseline="0" dirty="0">
                <a:solidFill>
                  <a:schemeClr val="tx1"/>
                </a:solidFill>
                <a:latin typeface="+mn-lt"/>
                <a:ea typeface="Malgun Gothic Semilight" panose="020B0502040204020203" pitchFamily="34" charset="-128"/>
                <a:cs typeface="Malgun Gothic Semilight" panose="020B0502040204020203" pitchFamily="34" charset="-128"/>
              </a:defRPr>
            </a:lvl1pPr>
          </a:lstStyle>
          <a:p>
            <a:pPr lvl="0"/>
            <a:r>
              <a:rPr lang="de-DE" dirty="0"/>
              <a:t>Vorname Nachname</a:t>
            </a:r>
          </a:p>
        </p:txBody>
      </p:sp>
      <p:sp>
        <p:nvSpPr>
          <p:cNvPr id="27" name="Textplatzhalter 15">
            <a:extLst>
              <a:ext uri="{FF2B5EF4-FFF2-40B4-BE49-F238E27FC236}">
                <a16:creationId xmlns:a16="http://schemas.microsoft.com/office/drawing/2014/main" id="{884337E5-B406-432D-99C1-EED0D43CBC54}"/>
              </a:ext>
            </a:extLst>
          </p:cNvPr>
          <p:cNvSpPr>
            <a:spLocks noGrp="1"/>
          </p:cNvSpPr>
          <p:nvPr>
            <p:ph type="body" sz="quarter" idx="19" hasCustomPrompt="1"/>
          </p:nvPr>
        </p:nvSpPr>
        <p:spPr>
          <a:xfrm>
            <a:off x="5973539" y="5053920"/>
            <a:ext cx="2777748" cy="430887"/>
          </a:xfrm>
          <a:prstGeom prst="rect">
            <a:avLst/>
          </a:prstGeom>
        </p:spPr>
        <p:txBody>
          <a:bodyPr wrap="none" lIns="0" tIns="0" rIns="0" bIns="0" anchor="t">
            <a:spAutoFit/>
          </a:bodyPr>
          <a:lstStyle>
            <a:lvl1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sz="1400" b="0" cap="none" baseline="0">
                <a:solidFill>
                  <a:schemeClr val="tx1"/>
                </a:solidFill>
              </a:defRPr>
            </a:lvl1pPr>
          </a:lstStyle>
          <a:p>
            <a:pPr lvl="0"/>
            <a:r>
              <a:rPr lang="de-DE" dirty="0"/>
              <a:t>T +49 XXXX XXX XX </a:t>
            </a:r>
            <a:r>
              <a:rPr lang="de-DE" dirty="0" err="1"/>
              <a:t>XX</a:t>
            </a:r>
            <a:br>
              <a:rPr lang="de-DE" dirty="0"/>
            </a:br>
            <a:r>
              <a:rPr lang="de-DE" dirty="0"/>
              <a:t>vorname.nachname@senacor.com</a:t>
            </a:r>
          </a:p>
        </p:txBody>
      </p:sp>
      <p:grpSp>
        <p:nvGrpSpPr>
          <p:cNvPr id="2" name="Grafik 24">
            <a:extLst>
              <a:ext uri="{FF2B5EF4-FFF2-40B4-BE49-F238E27FC236}">
                <a16:creationId xmlns:a16="http://schemas.microsoft.com/office/drawing/2014/main" id="{F9DBE55D-20E2-46D2-82B7-BD007C0044E4}"/>
              </a:ext>
            </a:extLst>
          </p:cNvPr>
          <p:cNvGrpSpPr/>
          <p:nvPr/>
        </p:nvGrpSpPr>
        <p:grpSpPr>
          <a:xfrm>
            <a:off x="9320362" y="330434"/>
            <a:ext cx="2392460" cy="345976"/>
            <a:chOff x="9320362" y="330434"/>
            <a:chExt cx="2392460" cy="345976"/>
          </a:xfrm>
          <a:solidFill>
            <a:srgbClr val="000000"/>
          </a:solidFill>
        </p:grpSpPr>
        <p:sp>
          <p:nvSpPr>
            <p:cNvPr id="3" name="Freihandform: Form 2">
              <a:extLst>
                <a:ext uri="{FF2B5EF4-FFF2-40B4-BE49-F238E27FC236}">
                  <a16:creationId xmlns:a16="http://schemas.microsoft.com/office/drawing/2014/main" id="{E3314D65-ED26-4F96-97E8-A526C2644736}"/>
                </a:ext>
              </a:extLst>
            </p:cNvPr>
            <p:cNvSpPr/>
            <p:nvPr/>
          </p:nvSpPr>
          <p:spPr>
            <a:xfrm>
              <a:off x="9908583" y="339029"/>
              <a:ext cx="347574" cy="332589"/>
            </a:xfrm>
            <a:custGeom>
              <a:avLst/>
              <a:gdLst>
                <a:gd name="connsiteX0" fmla="*/ 260728 w 347574"/>
                <a:gd name="connsiteY0" fmla="*/ 23028 h 332589"/>
                <a:gd name="connsiteX1" fmla="*/ 265026 w 347574"/>
                <a:gd name="connsiteY1" fmla="*/ 23276 h 332589"/>
                <a:gd name="connsiteX2" fmla="*/ 287313 w 347574"/>
                <a:gd name="connsiteY2" fmla="*/ 58588 h 332589"/>
                <a:gd name="connsiteX3" fmla="*/ 287313 w 347574"/>
                <a:gd name="connsiteY3" fmla="*/ 235095 h 332589"/>
                <a:gd name="connsiteX4" fmla="*/ 80267 w 347574"/>
                <a:gd name="connsiteY4" fmla="*/ 0 h 332589"/>
                <a:gd name="connsiteX5" fmla="*/ 7854 w 347574"/>
                <a:gd name="connsiteY5" fmla="*/ 0 h 332589"/>
                <a:gd name="connsiteX6" fmla="*/ 7854 w 347574"/>
                <a:gd name="connsiteY6" fmla="*/ 22572 h 332589"/>
                <a:gd name="connsiteX7" fmla="*/ 11847 w 347574"/>
                <a:gd name="connsiteY7" fmla="*/ 22971 h 332589"/>
                <a:gd name="connsiteX8" fmla="*/ 27174 w 347574"/>
                <a:gd name="connsiteY8" fmla="*/ 34381 h 332589"/>
                <a:gd name="connsiteX9" fmla="*/ 27174 w 347574"/>
                <a:gd name="connsiteY9" fmla="*/ 267764 h 332589"/>
                <a:gd name="connsiteX10" fmla="*/ 4355 w 347574"/>
                <a:gd name="connsiteY10" fmla="*/ 306024 h 332589"/>
                <a:gd name="connsiteX11" fmla="*/ 0 w 347574"/>
                <a:gd name="connsiteY11" fmla="*/ 306253 h 332589"/>
                <a:gd name="connsiteX12" fmla="*/ 0 w 347574"/>
                <a:gd name="connsiteY12" fmla="*/ 329072 h 332589"/>
                <a:gd name="connsiteX13" fmla="*/ 88577 w 347574"/>
                <a:gd name="connsiteY13" fmla="*/ 329072 h 332589"/>
                <a:gd name="connsiteX14" fmla="*/ 88577 w 347574"/>
                <a:gd name="connsiteY14" fmla="*/ 306500 h 332589"/>
                <a:gd name="connsiteX15" fmla="*/ 84374 w 347574"/>
                <a:gd name="connsiteY15" fmla="*/ 306176 h 332589"/>
                <a:gd name="connsiteX16" fmla="*/ 62677 w 347574"/>
                <a:gd name="connsiteY16" fmla="*/ 263923 h 332589"/>
                <a:gd name="connsiteX17" fmla="*/ 62677 w 347574"/>
                <a:gd name="connsiteY17" fmla="*/ 74809 h 332589"/>
                <a:gd name="connsiteX18" fmla="*/ 288967 w 347574"/>
                <a:gd name="connsiteY18" fmla="*/ 331049 h 332589"/>
                <a:gd name="connsiteX19" fmla="*/ 290336 w 347574"/>
                <a:gd name="connsiteY19" fmla="*/ 332590 h 332589"/>
                <a:gd name="connsiteX20" fmla="*/ 322816 w 347574"/>
                <a:gd name="connsiteY20" fmla="*/ 332590 h 332589"/>
                <a:gd name="connsiteX21" fmla="*/ 322816 w 347574"/>
                <a:gd name="connsiteY21" fmla="*/ 63799 h 332589"/>
                <a:gd name="connsiteX22" fmla="*/ 343391 w 347574"/>
                <a:gd name="connsiteY22" fmla="*/ 23428 h 332589"/>
                <a:gd name="connsiteX23" fmla="*/ 347574 w 347574"/>
                <a:gd name="connsiteY23" fmla="*/ 23066 h 332589"/>
                <a:gd name="connsiteX24" fmla="*/ 347574 w 347574"/>
                <a:gd name="connsiteY24" fmla="*/ 0 h 332589"/>
                <a:gd name="connsiteX25" fmla="*/ 260728 w 347574"/>
                <a:gd name="connsiteY25" fmla="*/ 0 h 33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7574" h="332589">
                  <a:moveTo>
                    <a:pt x="260728" y="23028"/>
                  </a:moveTo>
                  <a:lnTo>
                    <a:pt x="265026" y="23276"/>
                  </a:lnTo>
                  <a:cubicBezTo>
                    <a:pt x="287351" y="24550"/>
                    <a:pt x="287351" y="29094"/>
                    <a:pt x="287313" y="58588"/>
                  </a:cubicBezTo>
                  <a:lnTo>
                    <a:pt x="287313" y="235095"/>
                  </a:lnTo>
                  <a:lnTo>
                    <a:pt x="80267" y="0"/>
                  </a:lnTo>
                  <a:lnTo>
                    <a:pt x="7854" y="0"/>
                  </a:lnTo>
                  <a:lnTo>
                    <a:pt x="7854" y="22572"/>
                  </a:lnTo>
                  <a:lnTo>
                    <a:pt x="11847" y="22971"/>
                  </a:lnTo>
                  <a:cubicBezTo>
                    <a:pt x="23808" y="23789"/>
                    <a:pt x="26946" y="27782"/>
                    <a:pt x="27174" y="34381"/>
                  </a:cubicBezTo>
                  <a:lnTo>
                    <a:pt x="27174" y="267764"/>
                  </a:lnTo>
                  <a:cubicBezTo>
                    <a:pt x="27174" y="297106"/>
                    <a:pt x="27174" y="304978"/>
                    <a:pt x="4355" y="306024"/>
                  </a:cubicBezTo>
                  <a:lnTo>
                    <a:pt x="0" y="306253"/>
                  </a:lnTo>
                  <a:lnTo>
                    <a:pt x="0" y="329072"/>
                  </a:lnTo>
                  <a:lnTo>
                    <a:pt x="88577" y="329072"/>
                  </a:lnTo>
                  <a:lnTo>
                    <a:pt x="88577" y="306500"/>
                  </a:lnTo>
                  <a:lnTo>
                    <a:pt x="84374" y="306176"/>
                  </a:lnTo>
                  <a:cubicBezTo>
                    <a:pt x="62639" y="304484"/>
                    <a:pt x="62658" y="295908"/>
                    <a:pt x="62677" y="263923"/>
                  </a:cubicBezTo>
                  <a:lnTo>
                    <a:pt x="62677" y="74809"/>
                  </a:lnTo>
                  <a:lnTo>
                    <a:pt x="288967" y="331049"/>
                  </a:lnTo>
                  <a:lnTo>
                    <a:pt x="290336" y="332590"/>
                  </a:lnTo>
                  <a:lnTo>
                    <a:pt x="322816" y="332590"/>
                  </a:lnTo>
                  <a:lnTo>
                    <a:pt x="322816" y="63799"/>
                  </a:lnTo>
                  <a:cubicBezTo>
                    <a:pt x="322816" y="30996"/>
                    <a:pt x="324584" y="25215"/>
                    <a:pt x="343391" y="23428"/>
                  </a:cubicBezTo>
                  <a:lnTo>
                    <a:pt x="347574" y="23066"/>
                  </a:lnTo>
                  <a:lnTo>
                    <a:pt x="347574" y="0"/>
                  </a:lnTo>
                  <a:lnTo>
                    <a:pt x="260728" y="0"/>
                  </a:lnTo>
                  <a:close/>
                </a:path>
              </a:pathLst>
            </a:custGeom>
            <a:solidFill>
              <a:srgbClr val="000000"/>
            </a:solidFill>
            <a:ln w="19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9ED508CF-86D0-4CCF-BBB2-F14A398BD931}"/>
                </a:ext>
              </a:extLst>
            </p:cNvPr>
            <p:cNvSpPr/>
            <p:nvPr/>
          </p:nvSpPr>
          <p:spPr>
            <a:xfrm>
              <a:off x="9320362" y="330434"/>
              <a:ext cx="243956" cy="345976"/>
            </a:xfrm>
            <a:custGeom>
              <a:avLst/>
              <a:gdLst>
                <a:gd name="connsiteX0" fmla="*/ 142829 w 243956"/>
                <a:gd name="connsiteY0" fmla="*/ 140148 h 345976"/>
                <a:gd name="connsiteX1" fmla="*/ 142829 w 243956"/>
                <a:gd name="connsiteY1" fmla="*/ 140148 h 345976"/>
                <a:gd name="connsiteX2" fmla="*/ 70359 w 243956"/>
                <a:gd name="connsiteY2" fmla="*/ 75189 h 345976"/>
                <a:gd name="connsiteX3" fmla="*/ 119287 w 243956"/>
                <a:gd name="connsiteY3" fmla="*/ 27744 h 345976"/>
                <a:gd name="connsiteX4" fmla="*/ 195351 w 243956"/>
                <a:gd name="connsiteY4" fmla="*/ 64559 h 345976"/>
                <a:gd name="connsiteX5" fmla="*/ 196625 w 243956"/>
                <a:gd name="connsiteY5" fmla="*/ 67145 h 345976"/>
                <a:gd name="connsiteX6" fmla="*/ 221118 w 243956"/>
                <a:gd name="connsiteY6" fmla="*/ 66879 h 345976"/>
                <a:gd name="connsiteX7" fmla="*/ 210526 w 243956"/>
                <a:gd name="connsiteY7" fmla="*/ 5001 h 345976"/>
                <a:gd name="connsiteX8" fmla="*/ 194990 w 243956"/>
                <a:gd name="connsiteY8" fmla="*/ 5001 h 345976"/>
                <a:gd name="connsiteX9" fmla="*/ 192594 w 243956"/>
                <a:gd name="connsiteY9" fmla="*/ 6085 h 345976"/>
                <a:gd name="connsiteX10" fmla="*/ 180291 w 243956"/>
                <a:gd name="connsiteY10" fmla="*/ 8747 h 345976"/>
                <a:gd name="connsiteX11" fmla="*/ 164793 w 243956"/>
                <a:gd name="connsiteY11" fmla="*/ 6180 h 345976"/>
                <a:gd name="connsiteX12" fmla="*/ 155646 w 243956"/>
                <a:gd name="connsiteY12" fmla="*/ 4279 h 345976"/>
                <a:gd name="connsiteX13" fmla="*/ 112765 w 243956"/>
                <a:gd name="connsiteY13" fmla="*/ 0 h 345976"/>
                <a:gd name="connsiteX14" fmla="*/ 8291 w 243956"/>
                <a:gd name="connsiteY14" fmla="*/ 89508 h 345976"/>
                <a:gd name="connsiteX15" fmla="*/ 103675 w 243956"/>
                <a:gd name="connsiteY15" fmla="*/ 190749 h 345976"/>
                <a:gd name="connsiteX16" fmla="*/ 180272 w 243956"/>
                <a:gd name="connsiteY16" fmla="*/ 263333 h 345976"/>
                <a:gd name="connsiteX17" fmla="*/ 117120 w 243956"/>
                <a:gd name="connsiteY17" fmla="*/ 315076 h 345976"/>
                <a:gd name="connsiteX18" fmla="*/ 24417 w 243956"/>
                <a:gd name="connsiteY18" fmla="*/ 271586 h 345976"/>
                <a:gd name="connsiteX19" fmla="*/ 23276 w 243956"/>
                <a:gd name="connsiteY19" fmla="*/ 268734 h 345976"/>
                <a:gd name="connsiteX20" fmla="*/ 0 w 243956"/>
                <a:gd name="connsiteY20" fmla="*/ 268734 h 345976"/>
                <a:gd name="connsiteX21" fmla="*/ 10345 w 243956"/>
                <a:gd name="connsiteY21" fmla="*/ 338371 h 345976"/>
                <a:gd name="connsiteX22" fmla="*/ 29133 w 243956"/>
                <a:gd name="connsiteY22" fmla="*/ 338371 h 345976"/>
                <a:gd name="connsiteX23" fmla="*/ 30445 w 243956"/>
                <a:gd name="connsiteY23" fmla="*/ 337115 h 345976"/>
                <a:gd name="connsiteX24" fmla="*/ 42235 w 243956"/>
                <a:gd name="connsiteY24" fmla="*/ 334491 h 345976"/>
                <a:gd name="connsiteX25" fmla="*/ 62372 w 243956"/>
                <a:gd name="connsiteY25" fmla="*/ 338085 h 345976"/>
                <a:gd name="connsiteX26" fmla="*/ 120942 w 243956"/>
                <a:gd name="connsiteY26" fmla="*/ 345977 h 345976"/>
                <a:gd name="connsiteX27" fmla="*/ 243956 w 243956"/>
                <a:gd name="connsiteY27" fmla="*/ 247988 h 345976"/>
                <a:gd name="connsiteX28" fmla="*/ 142848 w 243956"/>
                <a:gd name="connsiteY28" fmla="*/ 140148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3956" h="345976">
                  <a:moveTo>
                    <a:pt x="142829" y="140148"/>
                  </a:moveTo>
                  <a:lnTo>
                    <a:pt x="142829" y="140148"/>
                  </a:lnTo>
                  <a:cubicBezTo>
                    <a:pt x="105558" y="121436"/>
                    <a:pt x="70359" y="103751"/>
                    <a:pt x="70359" y="75189"/>
                  </a:cubicBezTo>
                  <a:cubicBezTo>
                    <a:pt x="70359" y="56059"/>
                    <a:pt x="85914" y="27744"/>
                    <a:pt x="119287" y="27744"/>
                  </a:cubicBezTo>
                  <a:cubicBezTo>
                    <a:pt x="157814" y="27744"/>
                    <a:pt x="180823" y="38298"/>
                    <a:pt x="195351" y="64559"/>
                  </a:cubicBezTo>
                  <a:lnTo>
                    <a:pt x="196625" y="67145"/>
                  </a:lnTo>
                  <a:lnTo>
                    <a:pt x="221118" y="66879"/>
                  </a:lnTo>
                  <a:lnTo>
                    <a:pt x="210526" y="5001"/>
                  </a:lnTo>
                  <a:lnTo>
                    <a:pt x="194990" y="5001"/>
                  </a:lnTo>
                  <a:lnTo>
                    <a:pt x="192594" y="6085"/>
                  </a:lnTo>
                  <a:cubicBezTo>
                    <a:pt x="188783" y="7997"/>
                    <a:pt x="184551" y="8913"/>
                    <a:pt x="180291" y="8747"/>
                  </a:cubicBezTo>
                  <a:cubicBezTo>
                    <a:pt x="173825" y="8500"/>
                    <a:pt x="170973" y="7435"/>
                    <a:pt x="164793" y="6180"/>
                  </a:cubicBezTo>
                  <a:cubicBezTo>
                    <a:pt x="162168" y="5629"/>
                    <a:pt x="159259" y="4887"/>
                    <a:pt x="155646" y="4279"/>
                  </a:cubicBezTo>
                  <a:cubicBezTo>
                    <a:pt x="141528" y="1446"/>
                    <a:pt x="127164" y="13"/>
                    <a:pt x="112765" y="0"/>
                  </a:cubicBezTo>
                  <a:cubicBezTo>
                    <a:pt x="55146" y="0"/>
                    <a:pt x="8291" y="40143"/>
                    <a:pt x="8291" y="89508"/>
                  </a:cubicBezTo>
                  <a:cubicBezTo>
                    <a:pt x="8291" y="139463"/>
                    <a:pt x="56782" y="165572"/>
                    <a:pt x="103675" y="190749"/>
                  </a:cubicBezTo>
                  <a:cubicBezTo>
                    <a:pt x="143057" y="211933"/>
                    <a:pt x="180272" y="231995"/>
                    <a:pt x="180272" y="263333"/>
                  </a:cubicBezTo>
                  <a:cubicBezTo>
                    <a:pt x="180272" y="292827"/>
                    <a:pt x="153117" y="315076"/>
                    <a:pt x="117120" y="315076"/>
                  </a:cubicBezTo>
                  <a:cubicBezTo>
                    <a:pt x="67906" y="315076"/>
                    <a:pt x="37576" y="300833"/>
                    <a:pt x="24417" y="271586"/>
                  </a:cubicBezTo>
                  <a:lnTo>
                    <a:pt x="23276" y="268734"/>
                  </a:lnTo>
                  <a:lnTo>
                    <a:pt x="0" y="268734"/>
                  </a:lnTo>
                  <a:lnTo>
                    <a:pt x="10345" y="338371"/>
                  </a:lnTo>
                  <a:lnTo>
                    <a:pt x="29133" y="338371"/>
                  </a:lnTo>
                  <a:lnTo>
                    <a:pt x="30445" y="337115"/>
                  </a:lnTo>
                  <a:cubicBezTo>
                    <a:pt x="33240" y="334605"/>
                    <a:pt x="36720" y="334434"/>
                    <a:pt x="42235" y="334491"/>
                  </a:cubicBezTo>
                  <a:cubicBezTo>
                    <a:pt x="47749" y="334548"/>
                    <a:pt x="54120" y="336089"/>
                    <a:pt x="62372" y="338085"/>
                  </a:cubicBezTo>
                  <a:cubicBezTo>
                    <a:pt x="81479" y="343202"/>
                    <a:pt x="101162" y="345853"/>
                    <a:pt x="120942" y="345977"/>
                  </a:cubicBezTo>
                  <a:cubicBezTo>
                    <a:pt x="192233" y="345977"/>
                    <a:pt x="243956" y="304769"/>
                    <a:pt x="243956" y="247988"/>
                  </a:cubicBezTo>
                  <a:cubicBezTo>
                    <a:pt x="243956" y="191206"/>
                    <a:pt x="190160" y="163956"/>
                    <a:pt x="142848" y="140148"/>
                  </a:cubicBezTo>
                </a:path>
              </a:pathLst>
            </a:custGeom>
            <a:solidFill>
              <a:srgbClr val="000000"/>
            </a:solidFill>
            <a:ln w="19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0E4A174D-1F39-4604-A5C6-48E726B8CD62}"/>
                </a:ext>
              </a:extLst>
            </p:cNvPr>
            <p:cNvSpPr/>
            <p:nvPr/>
          </p:nvSpPr>
          <p:spPr>
            <a:xfrm>
              <a:off x="9614881" y="339067"/>
              <a:ext cx="243328" cy="329090"/>
            </a:xfrm>
            <a:custGeom>
              <a:avLst/>
              <a:gdLst>
                <a:gd name="connsiteX0" fmla="*/ 16544 w 243328"/>
                <a:gd name="connsiteY0" fmla="*/ 287103 h 329090"/>
                <a:gd name="connsiteX1" fmla="*/ 4126 w 243328"/>
                <a:gd name="connsiteY1" fmla="*/ 305397 h 329090"/>
                <a:gd name="connsiteX2" fmla="*/ 0 w 243328"/>
                <a:gd name="connsiteY2" fmla="*/ 305796 h 329090"/>
                <a:gd name="connsiteX3" fmla="*/ 0 w 243328"/>
                <a:gd name="connsiteY3" fmla="*/ 329091 h 329090"/>
                <a:gd name="connsiteX4" fmla="*/ 235342 w 243328"/>
                <a:gd name="connsiteY4" fmla="*/ 329091 h 329090"/>
                <a:gd name="connsiteX5" fmla="*/ 243329 w 243328"/>
                <a:gd name="connsiteY5" fmla="*/ 263276 h 329090"/>
                <a:gd name="connsiteX6" fmla="*/ 218608 w 243328"/>
                <a:gd name="connsiteY6" fmla="*/ 263467 h 329090"/>
                <a:gd name="connsiteX7" fmla="*/ 217600 w 243328"/>
                <a:gd name="connsiteY7" fmla="*/ 266604 h 329090"/>
                <a:gd name="connsiteX8" fmla="*/ 164698 w 243328"/>
                <a:gd name="connsiteY8" fmla="*/ 296897 h 329090"/>
                <a:gd name="connsiteX9" fmla="*/ 104284 w 243328"/>
                <a:gd name="connsiteY9" fmla="*/ 296897 h 329090"/>
                <a:gd name="connsiteX10" fmla="*/ 80000 w 243328"/>
                <a:gd name="connsiteY10" fmla="*/ 264398 h 329090"/>
                <a:gd name="connsiteX11" fmla="*/ 80000 w 243328"/>
                <a:gd name="connsiteY11" fmla="*/ 175251 h 329090"/>
                <a:gd name="connsiteX12" fmla="*/ 144655 w 243328"/>
                <a:gd name="connsiteY12" fmla="*/ 175251 h 329090"/>
                <a:gd name="connsiteX13" fmla="*/ 174852 w 243328"/>
                <a:gd name="connsiteY13" fmla="*/ 193126 h 329090"/>
                <a:gd name="connsiteX14" fmla="*/ 175537 w 243328"/>
                <a:gd name="connsiteY14" fmla="*/ 196930 h 329090"/>
                <a:gd name="connsiteX15" fmla="*/ 199079 w 243328"/>
                <a:gd name="connsiteY15" fmla="*/ 196930 h 329090"/>
                <a:gd name="connsiteX16" fmla="*/ 199079 w 243328"/>
                <a:gd name="connsiteY16" fmla="*/ 122767 h 329090"/>
                <a:gd name="connsiteX17" fmla="*/ 175917 w 243328"/>
                <a:gd name="connsiteY17" fmla="*/ 122767 h 329090"/>
                <a:gd name="connsiteX18" fmla="*/ 175347 w 243328"/>
                <a:gd name="connsiteY18" fmla="*/ 126570 h 329090"/>
                <a:gd name="connsiteX19" fmla="*/ 144655 w 243328"/>
                <a:gd name="connsiteY19" fmla="*/ 143133 h 329090"/>
                <a:gd name="connsiteX20" fmla="*/ 80000 w 243328"/>
                <a:gd name="connsiteY20" fmla="*/ 143133 h 329090"/>
                <a:gd name="connsiteX21" fmla="*/ 80000 w 243328"/>
                <a:gd name="connsiteY21" fmla="*/ 32213 h 329090"/>
                <a:gd name="connsiteX22" fmla="*/ 166599 w 243328"/>
                <a:gd name="connsiteY22" fmla="*/ 32213 h 329090"/>
                <a:gd name="connsiteX23" fmla="*/ 201950 w 243328"/>
                <a:gd name="connsiteY23" fmla="*/ 55603 h 329090"/>
                <a:gd name="connsiteX24" fmla="*/ 202882 w 243328"/>
                <a:gd name="connsiteY24" fmla="*/ 58950 h 329090"/>
                <a:gd name="connsiteX25" fmla="*/ 227603 w 243328"/>
                <a:gd name="connsiteY25" fmla="*/ 58950 h 329090"/>
                <a:gd name="connsiteX26" fmla="*/ 223533 w 243328"/>
                <a:gd name="connsiteY26" fmla="*/ 0 h 329090"/>
                <a:gd name="connsiteX27" fmla="*/ 361 w 243328"/>
                <a:gd name="connsiteY27" fmla="*/ 0 h 329090"/>
                <a:gd name="connsiteX28" fmla="*/ 361 w 243328"/>
                <a:gd name="connsiteY28" fmla="*/ 23066 h 329090"/>
                <a:gd name="connsiteX29" fmla="*/ 4545 w 243328"/>
                <a:gd name="connsiteY29" fmla="*/ 23352 h 329090"/>
                <a:gd name="connsiteX30" fmla="*/ 16582 w 243328"/>
                <a:gd name="connsiteY30" fmla="*/ 52655 h 32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3328" h="329090">
                  <a:moveTo>
                    <a:pt x="16544" y="287103"/>
                  </a:moveTo>
                  <a:cubicBezTo>
                    <a:pt x="16202" y="299939"/>
                    <a:pt x="15878" y="304218"/>
                    <a:pt x="4126" y="305397"/>
                  </a:cubicBezTo>
                  <a:lnTo>
                    <a:pt x="0" y="305796"/>
                  </a:lnTo>
                  <a:lnTo>
                    <a:pt x="0" y="329091"/>
                  </a:lnTo>
                  <a:lnTo>
                    <a:pt x="235342" y="329091"/>
                  </a:lnTo>
                  <a:lnTo>
                    <a:pt x="243329" y="263276"/>
                  </a:lnTo>
                  <a:lnTo>
                    <a:pt x="218608" y="263467"/>
                  </a:lnTo>
                  <a:lnTo>
                    <a:pt x="217600" y="266604"/>
                  </a:lnTo>
                  <a:cubicBezTo>
                    <a:pt x="207826" y="297239"/>
                    <a:pt x="197766" y="297144"/>
                    <a:pt x="164698" y="296897"/>
                  </a:cubicBezTo>
                  <a:lnTo>
                    <a:pt x="104284" y="296897"/>
                  </a:lnTo>
                  <a:cubicBezTo>
                    <a:pt x="80666" y="296897"/>
                    <a:pt x="80000" y="292276"/>
                    <a:pt x="80000" y="264398"/>
                  </a:cubicBezTo>
                  <a:lnTo>
                    <a:pt x="80000" y="175251"/>
                  </a:lnTo>
                  <a:lnTo>
                    <a:pt x="144655" y="175251"/>
                  </a:lnTo>
                  <a:cubicBezTo>
                    <a:pt x="166181" y="175251"/>
                    <a:pt x="170688" y="175727"/>
                    <a:pt x="174852" y="193126"/>
                  </a:cubicBezTo>
                  <a:lnTo>
                    <a:pt x="175537" y="196930"/>
                  </a:lnTo>
                  <a:lnTo>
                    <a:pt x="199079" y="196930"/>
                  </a:lnTo>
                  <a:lnTo>
                    <a:pt x="199079" y="122767"/>
                  </a:lnTo>
                  <a:lnTo>
                    <a:pt x="175917" y="122767"/>
                  </a:lnTo>
                  <a:lnTo>
                    <a:pt x="175347" y="126570"/>
                  </a:lnTo>
                  <a:cubicBezTo>
                    <a:pt x="172608" y="141935"/>
                    <a:pt x="167588" y="143133"/>
                    <a:pt x="144655" y="143133"/>
                  </a:cubicBezTo>
                  <a:lnTo>
                    <a:pt x="80000" y="143133"/>
                  </a:lnTo>
                  <a:lnTo>
                    <a:pt x="80000" y="32213"/>
                  </a:lnTo>
                  <a:lnTo>
                    <a:pt x="166599" y="32213"/>
                  </a:lnTo>
                  <a:cubicBezTo>
                    <a:pt x="188829" y="32213"/>
                    <a:pt x="196112" y="32213"/>
                    <a:pt x="201950" y="55603"/>
                  </a:cubicBezTo>
                  <a:lnTo>
                    <a:pt x="202882" y="58950"/>
                  </a:lnTo>
                  <a:lnTo>
                    <a:pt x="227603" y="58950"/>
                  </a:lnTo>
                  <a:lnTo>
                    <a:pt x="223533" y="0"/>
                  </a:lnTo>
                  <a:lnTo>
                    <a:pt x="361" y="0"/>
                  </a:lnTo>
                  <a:lnTo>
                    <a:pt x="361" y="23066"/>
                  </a:lnTo>
                  <a:lnTo>
                    <a:pt x="4545" y="23352"/>
                  </a:lnTo>
                  <a:cubicBezTo>
                    <a:pt x="16411" y="24778"/>
                    <a:pt x="16430" y="29056"/>
                    <a:pt x="16582" y="52655"/>
                  </a:cubicBezTo>
                  <a:close/>
                </a:path>
              </a:pathLst>
            </a:custGeom>
            <a:solidFill>
              <a:srgbClr val="000000"/>
            </a:solidFill>
            <a:ln w="190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6F700F-17C6-405B-81D0-2B15A47DEEEF}"/>
                </a:ext>
              </a:extLst>
            </p:cNvPr>
            <p:cNvSpPr/>
            <p:nvPr/>
          </p:nvSpPr>
          <p:spPr>
            <a:xfrm>
              <a:off x="11361159" y="334047"/>
              <a:ext cx="351663" cy="338788"/>
            </a:xfrm>
            <a:custGeom>
              <a:avLst/>
              <a:gdLst>
                <a:gd name="connsiteX0" fmla="*/ 236768 w 351663"/>
                <a:gd name="connsiteY0" fmla="*/ 212960 h 338788"/>
                <a:gd name="connsiteX1" fmla="*/ 204061 w 351663"/>
                <a:gd name="connsiteY1" fmla="*/ 181793 h 338788"/>
                <a:gd name="connsiteX2" fmla="*/ 264170 w 351663"/>
                <a:gd name="connsiteY2" fmla="*/ 96753 h 338788"/>
                <a:gd name="connsiteX3" fmla="*/ 121417 w 351663"/>
                <a:gd name="connsiteY3" fmla="*/ 0 h 338788"/>
                <a:gd name="connsiteX4" fmla="*/ 59007 w 351663"/>
                <a:gd name="connsiteY4" fmla="*/ 1027 h 338788"/>
                <a:gd name="connsiteX5" fmla="*/ 24607 w 351663"/>
                <a:gd name="connsiteY5" fmla="*/ 2700 h 338788"/>
                <a:gd name="connsiteX6" fmla="*/ 10478 w 351663"/>
                <a:gd name="connsiteY6" fmla="*/ 3651 h 338788"/>
                <a:gd name="connsiteX7" fmla="*/ 10478 w 351663"/>
                <a:gd name="connsiteY7" fmla="*/ 26946 h 338788"/>
                <a:gd name="connsiteX8" fmla="*/ 14585 w 351663"/>
                <a:gd name="connsiteY8" fmla="*/ 27136 h 338788"/>
                <a:gd name="connsiteX9" fmla="*/ 28752 w 351663"/>
                <a:gd name="connsiteY9" fmla="*/ 40713 h 338788"/>
                <a:gd name="connsiteX10" fmla="*/ 28562 w 351663"/>
                <a:gd name="connsiteY10" fmla="*/ 281722 h 338788"/>
                <a:gd name="connsiteX11" fmla="*/ 4336 w 351663"/>
                <a:gd name="connsiteY11" fmla="*/ 311083 h 338788"/>
                <a:gd name="connsiteX12" fmla="*/ 0 w 351663"/>
                <a:gd name="connsiteY12" fmla="*/ 311311 h 338788"/>
                <a:gd name="connsiteX13" fmla="*/ 0 w 351663"/>
                <a:gd name="connsiteY13" fmla="*/ 334130 h 338788"/>
                <a:gd name="connsiteX14" fmla="*/ 124175 w 351663"/>
                <a:gd name="connsiteY14" fmla="*/ 334130 h 338788"/>
                <a:gd name="connsiteX15" fmla="*/ 124175 w 351663"/>
                <a:gd name="connsiteY15" fmla="*/ 311178 h 338788"/>
                <a:gd name="connsiteX16" fmla="*/ 119877 w 351663"/>
                <a:gd name="connsiteY16" fmla="*/ 311178 h 338788"/>
                <a:gd name="connsiteX17" fmla="*/ 94833 w 351663"/>
                <a:gd name="connsiteY17" fmla="*/ 267004 h 338788"/>
                <a:gd name="connsiteX18" fmla="*/ 94833 w 351663"/>
                <a:gd name="connsiteY18" fmla="*/ 201760 h 338788"/>
                <a:gd name="connsiteX19" fmla="*/ 134272 w 351663"/>
                <a:gd name="connsiteY19" fmla="*/ 201417 h 338788"/>
                <a:gd name="connsiteX20" fmla="*/ 187517 w 351663"/>
                <a:gd name="connsiteY20" fmla="*/ 249414 h 338788"/>
                <a:gd name="connsiteX21" fmla="*/ 214501 w 351663"/>
                <a:gd name="connsiteY21" fmla="*/ 276626 h 338788"/>
                <a:gd name="connsiteX22" fmla="*/ 230569 w 351663"/>
                <a:gd name="connsiteY22" fmla="*/ 293417 h 338788"/>
                <a:gd name="connsiteX23" fmla="*/ 241731 w 351663"/>
                <a:gd name="connsiteY23" fmla="*/ 305796 h 338788"/>
                <a:gd name="connsiteX24" fmla="*/ 327836 w 351663"/>
                <a:gd name="connsiteY24" fmla="*/ 338789 h 338788"/>
                <a:gd name="connsiteX25" fmla="*/ 346491 w 351663"/>
                <a:gd name="connsiteY25" fmla="*/ 338523 h 338788"/>
                <a:gd name="connsiteX26" fmla="*/ 351663 w 351663"/>
                <a:gd name="connsiteY26" fmla="*/ 338409 h 338788"/>
                <a:gd name="connsiteX27" fmla="*/ 351663 w 351663"/>
                <a:gd name="connsiteY27" fmla="*/ 315494 h 338788"/>
                <a:gd name="connsiteX28" fmla="*/ 346852 w 351663"/>
                <a:gd name="connsiteY28" fmla="*/ 315057 h 338788"/>
                <a:gd name="connsiteX29" fmla="*/ 346852 w 351663"/>
                <a:gd name="connsiteY29" fmla="*/ 315057 h 338788"/>
                <a:gd name="connsiteX30" fmla="*/ 309181 w 351663"/>
                <a:gd name="connsiteY30" fmla="*/ 287807 h 338788"/>
                <a:gd name="connsiteX31" fmla="*/ 278014 w 351663"/>
                <a:gd name="connsiteY31" fmla="*/ 255004 h 338788"/>
                <a:gd name="connsiteX32" fmla="*/ 193374 w 351663"/>
                <a:gd name="connsiteY32" fmla="*/ 101907 h 338788"/>
                <a:gd name="connsiteX33" fmla="*/ 106756 w 351663"/>
                <a:gd name="connsiteY33" fmla="*/ 178769 h 338788"/>
                <a:gd name="connsiteX34" fmla="*/ 94871 w 351663"/>
                <a:gd name="connsiteY34" fmla="*/ 178256 h 338788"/>
                <a:gd name="connsiteX35" fmla="*/ 94871 w 351663"/>
                <a:gd name="connsiteY35" fmla="*/ 24911 h 338788"/>
                <a:gd name="connsiteX36" fmla="*/ 116226 w 351663"/>
                <a:gd name="connsiteY36" fmla="*/ 24664 h 338788"/>
                <a:gd name="connsiteX37" fmla="*/ 193374 w 351663"/>
                <a:gd name="connsiteY37" fmla="*/ 101907 h 33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1663" h="338788">
                  <a:moveTo>
                    <a:pt x="236768" y="212960"/>
                  </a:moveTo>
                  <a:cubicBezTo>
                    <a:pt x="233193" y="209366"/>
                    <a:pt x="215470" y="191586"/>
                    <a:pt x="204061" y="181793"/>
                  </a:cubicBezTo>
                  <a:cubicBezTo>
                    <a:pt x="243994" y="162986"/>
                    <a:pt x="264170" y="134386"/>
                    <a:pt x="264170" y="96753"/>
                  </a:cubicBezTo>
                  <a:cubicBezTo>
                    <a:pt x="264170" y="67659"/>
                    <a:pt x="250270" y="0"/>
                    <a:pt x="121417" y="0"/>
                  </a:cubicBezTo>
                  <a:cubicBezTo>
                    <a:pt x="110863" y="0"/>
                    <a:pt x="86162" y="0"/>
                    <a:pt x="59007" y="1027"/>
                  </a:cubicBezTo>
                  <a:cubicBezTo>
                    <a:pt x="42634" y="1749"/>
                    <a:pt x="33031" y="2263"/>
                    <a:pt x="24607" y="2700"/>
                  </a:cubicBezTo>
                  <a:lnTo>
                    <a:pt x="10478" y="3651"/>
                  </a:lnTo>
                  <a:lnTo>
                    <a:pt x="10478" y="26946"/>
                  </a:lnTo>
                  <a:lnTo>
                    <a:pt x="14585" y="27136"/>
                  </a:lnTo>
                  <a:cubicBezTo>
                    <a:pt x="24759" y="27877"/>
                    <a:pt x="28619" y="30521"/>
                    <a:pt x="28752" y="40713"/>
                  </a:cubicBezTo>
                  <a:lnTo>
                    <a:pt x="28562" y="281722"/>
                  </a:lnTo>
                  <a:cubicBezTo>
                    <a:pt x="27935" y="301708"/>
                    <a:pt x="26660" y="310037"/>
                    <a:pt x="4336" y="311083"/>
                  </a:cubicBezTo>
                  <a:lnTo>
                    <a:pt x="0" y="311311"/>
                  </a:lnTo>
                  <a:lnTo>
                    <a:pt x="0" y="334130"/>
                  </a:lnTo>
                  <a:lnTo>
                    <a:pt x="124175" y="334130"/>
                  </a:lnTo>
                  <a:lnTo>
                    <a:pt x="124175" y="311178"/>
                  </a:lnTo>
                  <a:lnTo>
                    <a:pt x="119877" y="311178"/>
                  </a:lnTo>
                  <a:cubicBezTo>
                    <a:pt x="94814" y="309942"/>
                    <a:pt x="94833" y="304218"/>
                    <a:pt x="94833" y="267004"/>
                  </a:cubicBezTo>
                  <a:lnTo>
                    <a:pt x="94833" y="201760"/>
                  </a:lnTo>
                  <a:cubicBezTo>
                    <a:pt x="107973" y="202526"/>
                    <a:pt x="121151" y="202410"/>
                    <a:pt x="134272" y="201417"/>
                  </a:cubicBezTo>
                  <a:cubicBezTo>
                    <a:pt x="154334" y="216402"/>
                    <a:pt x="161864" y="223514"/>
                    <a:pt x="187517" y="249414"/>
                  </a:cubicBezTo>
                  <a:lnTo>
                    <a:pt x="214501" y="276626"/>
                  </a:lnTo>
                  <a:cubicBezTo>
                    <a:pt x="220624" y="282825"/>
                    <a:pt x="225910" y="288454"/>
                    <a:pt x="230569" y="293417"/>
                  </a:cubicBezTo>
                  <a:cubicBezTo>
                    <a:pt x="234791" y="297904"/>
                    <a:pt x="238461" y="302088"/>
                    <a:pt x="241731" y="305796"/>
                  </a:cubicBezTo>
                  <a:cubicBezTo>
                    <a:pt x="261698" y="328444"/>
                    <a:pt x="270826" y="338789"/>
                    <a:pt x="327836" y="338789"/>
                  </a:cubicBezTo>
                  <a:cubicBezTo>
                    <a:pt x="333541" y="338789"/>
                    <a:pt x="339607" y="338789"/>
                    <a:pt x="346491" y="338523"/>
                  </a:cubicBezTo>
                  <a:lnTo>
                    <a:pt x="351663" y="338409"/>
                  </a:lnTo>
                  <a:lnTo>
                    <a:pt x="351663" y="315494"/>
                  </a:lnTo>
                  <a:lnTo>
                    <a:pt x="346852" y="315057"/>
                  </a:lnTo>
                  <a:lnTo>
                    <a:pt x="346852" y="315057"/>
                  </a:lnTo>
                  <a:cubicBezTo>
                    <a:pt x="333408" y="313802"/>
                    <a:pt x="325326" y="305112"/>
                    <a:pt x="309181" y="287807"/>
                  </a:cubicBezTo>
                  <a:lnTo>
                    <a:pt x="278014" y="255004"/>
                  </a:lnTo>
                  <a:close/>
                  <a:moveTo>
                    <a:pt x="193374" y="101907"/>
                  </a:moveTo>
                  <a:cubicBezTo>
                    <a:pt x="193374" y="154676"/>
                    <a:pt x="169357" y="176354"/>
                    <a:pt x="106756" y="178769"/>
                  </a:cubicBezTo>
                  <a:cubicBezTo>
                    <a:pt x="104854" y="178769"/>
                    <a:pt x="99416" y="178769"/>
                    <a:pt x="94871" y="178256"/>
                  </a:cubicBezTo>
                  <a:lnTo>
                    <a:pt x="94871" y="24911"/>
                  </a:lnTo>
                  <a:cubicBezTo>
                    <a:pt x="101089" y="24664"/>
                    <a:pt x="110635" y="24664"/>
                    <a:pt x="116226" y="24664"/>
                  </a:cubicBezTo>
                  <a:cubicBezTo>
                    <a:pt x="167645" y="24645"/>
                    <a:pt x="193374" y="50621"/>
                    <a:pt x="193374" y="101907"/>
                  </a:cubicBezTo>
                  <a:close/>
                </a:path>
              </a:pathLst>
            </a:custGeom>
            <a:solidFill>
              <a:srgbClr val="000000"/>
            </a:solidFill>
            <a:ln w="190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E61F8F61-0A3A-4A54-9246-6A366390E4DB}"/>
                </a:ext>
              </a:extLst>
            </p:cNvPr>
            <p:cNvSpPr/>
            <p:nvPr/>
          </p:nvSpPr>
          <p:spPr>
            <a:xfrm>
              <a:off x="10279262" y="339029"/>
              <a:ext cx="336564" cy="329223"/>
            </a:xfrm>
            <a:custGeom>
              <a:avLst/>
              <a:gdLst>
                <a:gd name="connsiteX0" fmla="*/ 197272 w 336564"/>
                <a:gd name="connsiteY0" fmla="*/ 0 h 329223"/>
                <a:gd name="connsiteX1" fmla="*/ 147450 w 336564"/>
                <a:gd name="connsiteY1" fmla="*/ 0 h 329223"/>
                <a:gd name="connsiteX2" fmla="*/ 40580 w 336564"/>
                <a:gd name="connsiteY2" fmla="*/ 267289 h 329223"/>
                <a:gd name="connsiteX3" fmla="*/ 4241 w 336564"/>
                <a:gd name="connsiteY3" fmla="*/ 306119 h 329223"/>
                <a:gd name="connsiteX4" fmla="*/ 0 w 336564"/>
                <a:gd name="connsiteY4" fmla="*/ 306405 h 329223"/>
                <a:gd name="connsiteX5" fmla="*/ 0 w 336564"/>
                <a:gd name="connsiteY5" fmla="*/ 329224 h 329223"/>
                <a:gd name="connsiteX6" fmla="*/ 92171 w 336564"/>
                <a:gd name="connsiteY6" fmla="*/ 329224 h 329223"/>
                <a:gd name="connsiteX7" fmla="*/ 92171 w 336564"/>
                <a:gd name="connsiteY7" fmla="*/ 306576 h 329223"/>
                <a:gd name="connsiteX8" fmla="*/ 88025 w 336564"/>
                <a:gd name="connsiteY8" fmla="*/ 306214 h 329223"/>
                <a:gd name="connsiteX9" fmla="*/ 67469 w 336564"/>
                <a:gd name="connsiteY9" fmla="*/ 290602 h 329223"/>
                <a:gd name="connsiteX10" fmla="*/ 72394 w 336564"/>
                <a:gd name="connsiteY10" fmla="*/ 272081 h 329223"/>
                <a:gd name="connsiteX11" fmla="*/ 97115 w 336564"/>
                <a:gd name="connsiteY11" fmla="*/ 208263 h 329223"/>
                <a:gd name="connsiteX12" fmla="*/ 210716 w 336564"/>
                <a:gd name="connsiteY12" fmla="*/ 208263 h 329223"/>
                <a:gd name="connsiteX13" fmla="*/ 235437 w 336564"/>
                <a:gd name="connsiteY13" fmla="*/ 271929 h 329223"/>
                <a:gd name="connsiteX14" fmla="*/ 241807 w 336564"/>
                <a:gd name="connsiteY14" fmla="*/ 291991 h 329223"/>
                <a:gd name="connsiteX15" fmla="*/ 241960 w 336564"/>
                <a:gd name="connsiteY15" fmla="*/ 292751 h 329223"/>
                <a:gd name="connsiteX16" fmla="*/ 240267 w 336564"/>
                <a:gd name="connsiteY16" fmla="*/ 300224 h 329223"/>
                <a:gd name="connsiteX17" fmla="*/ 221879 w 336564"/>
                <a:gd name="connsiteY17" fmla="*/ 305815 h 329223"/>
                <a:gd name="connsiteX18" fmla="*/ 217695 w 336564"/>
                <a:gd name="connsiteY18" fmla="*/ 306138 h 329223"/>
                <a:gd name="connsiteX19" fmla="*/ 217695 w 336564"/>
                <a:gd name="connsiteY19" fmla="*/ 329148 h 329223"/>
                <a:gd name="connsiteX20" fmla="*/ 336564 w 336564"/>
                <a:gd name="connsiteY20" fmla="*/ 329148 h 329223"/>
                <a:gd name="connsiteX21" fmla="*/ 336564 w 336564"/>
                <a:gd name="connsiteY21" fmla="*/ 306557 h 329223"/>
                <a:gd name="connsiteX22" fmla="*/ 332229 w 336564"/>
                <a:gd name="connsiteY22" fmla="*/ 306329 h 329223"/>
                <a:gd name="connsiteX23" fmla="*/ 299901 w 336564"/>
                <a:gd name="connsiteY23" fmla="*/ 272537 h 329223"/>
                <a:gd name="connsiteX24" fmla="*/ 197614 w 336564"/>
                <a:gd name="connsiteY24" fmla="*/ 174091 h 329223"/>
                <a:gd name="connsiteX25" fmla="*/ 110141 w 336564"/>
                <a:gd name="connsiteY25" fmla="*/ 174091 h 329223"/>
                <a:gd name="connsiteX26" fmla="*/ 154562 w 336564"/>
                <a:gd name="connsiteY26" fmla="*/ 60129 h 32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6564" h="329223">
                  <a:moveTo>
                    <a:pt x="197272" y="0"/>
                  </a:moveTo>
                  <a:lnTo>
                    <a:pt x="147450" y="0"/>
                  </a:lnTo>
                  <a:lnTo>
                    <a:pt x="40580" y="267289"/>
                  </a:lnTo>
                  <a:cubicBezTo>
                    <a:pt x="27896" y="298912"/>
                    <a:pt x="25595" y="304617"/>
                    <a:pt x="4241" y="306119"/>
                  </a:cubicBezTo>
                  <a:lnTo>
                    <a:pt x="0" y="306405"/>
                  </a:lnTo>
                  <a:lnTo>
                    <a:pt x="0" y="329224"/>
                  </a:lnTo>
                  <a:lnTo>
                    <a:pt x="92171" y="329224"/>
                  </a:lnTo>
                  <a:lnTo>
                    <a:pt x="92171" y="306576"/>
                  </a:lnTo>
                  <a:lnTo>
                    <a:pt x="88025" y="306214"/>
                  </a:lnTo>
                  <a:cubicBezTo>
                    <a:pt x="70911" y="304313"/>
                    <a:pt x="66936" y="297809"/>
                    <a:pt x="67469" y="290602"/>
                  </a:cubicBezTo>
                  <a:cubicBezTo>
                    <a:pt x="67811" y="286096"/>
                    <a:pt x="69161" y="280790"/>
                    <a:pt x="72394" y="272081"/>
                  </a:cubicBezTo>
                  <a:lnTo>
                    <a:pt x="97115" y="208263"/>
                  </a:lnTo>
                  <a:lnTo>
                    <a:pt x="210716" y="208263"/>
                  </a:lnTo>
                  <a:lnTo>
                    <a:pt x="235437" y="271929"/>
                  </a:lnTo>
                  <a:cubicBezTo>
                    <a:pt x="239411" y="283205"/>
                    <a:pt x="240286" y="285392"/>
                    <a:pt x="241807" y="291991"/>
                  </a:cubicBezTo>
                  <a:lnTo>
                    <a:pt x="241960" y="292751"/>
                  </a:lnTo>
                  <a:cubicBezTo>
                    <a:pt x="242587" y="295370"/>
                    <a:pt x="241961" y="298131"/>
                    <a:pt x="240267" y="300224"/>
                  </a:cubicBezTo>
                  <a:cubicBezTo>
                    <a:pt x="237871" y="303229"/>
                    <a:pt x="231957" y="305035"/>
                    <a:pt x="221879" y="305815"/>
                  </a:cubicBezTo>
                  <a:lnTo>
                    <a:pt x="217695" y="306138"/>
                  </a:lnTo>
                  <a:lnTo>
                    <a:pt x="217695" y="329148"/>
                  </a:lnTo>
                  <a:lnTo>
                    <a:pt x="336564" y="329148"/>
                  </a:lnTo>
                  <a:lnTo>
                    <a:pt x="336564" y="306557"/>
                  </a:lnTo>
                  <a:lnTo>
                    <a:pt x="332229" y="306329"/>
                  </a:lnTo>
                  <a:cubicBezTo>
                    <a:pt x="311901" y="305397"/>
                    <a:pt x="310056" y="300377"/>
                    <a:pt x="299901" y="272537"/>
                  </a:cubicBezTo>
                  <a:close/>
                  <a:moveTo>
                    <a:pt x="197614" y="174091"/>
                  </a:moveTo>
                  <a:lnTo>
                    <a:pt x="110141" y="174091"/>
                  </a:lnTo>
                  <a:lnTo>
                    <a:pt x="154562" y="60129"/>
                  </a:lnTo>
                  <a:close/>
                </a:path>
              </a:pathLst>
            </a:custGeom>
            <a:solidFill>
              <a:srgbClr val="000000"/>
            </a:solidFill>
            <a:ln w="1900"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10579C9B-9230-4FA8-B8AD-1FA518105368}"/>
                </a:ext>
              </a:extLst>
            </p:cNvPr>
            <p:cNvSpPr/>
            <p:nvPr/>
          </p:nvSpPr>
          <p:spPr>
            <a:xfrm>
              <a:off x="10972339" y="330434"/>
              <a:ext cx="355447" cy="345976"/>
            </a:xfrm>
            <a:custGeom>
              <a:avLst/>
              <a:gdLst>
                <a:gd name="connsiteX0" fmla="*/ 177724 w 355447"/>
                <a:gd name="connsiteY0" fmla="*/ 0 h 345976"/>
                <a:gd name="connsiteX1" fmla="*/ 0 w 355447"/>
                <a:gd name="connsiteY1" fmla="*/ 181755 h 345976"/>
                <a:gd name="connsiteX2" fmla="*/ 175822 w 355447"/>
                <a:gd name="connsiteY2" fmla="*/ 345977 h 345976"/>
                <a:gd name="connsiteX3" fmla="*/ 355447 w 355447"/>
                <a:gd name="connsiteY3" fmla="*/ 167322 h 345976"/>
                <a:gd name="connsiteX4" fmla="*/ 177724 w 355447"/>
                <a:gd name="connsiteY4" fmla="*/ 0 h 345976"/>
                <a:gd name="connsiteX5" fmla="*/ 288948 w 355447"/>
                <a:gd name="connsiteY5" fmla="*/ 180196 h 345976"/>
                <a:gd name="connsiteX6" fmla="*/ 183409 w 355447"/>
                <a:gd name="connsiteY6" fmla="*/ 320381 h 345976"/>
                <a:gd name="connsiteX7" fmla="*/ 66518 w 355447"/>
                <a:gd name="connsiteY7" fmla="*/ 167835 h 345976"/>
                <a:gd name="connsiteX8" fmla="*/ 173920 w 355447"/>
                <a:gd name="connsiteY8" fmla="*/ 25577 h 345976"/>
                <a:gd name="connsiteX9" fmla="*/ 288948 w 355447"/>
                <a:gd name="connsiteY9" fmla="*/ 180196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447" h="345976">
                  <a:moveTo>
                    <a:pt x="177724" y="0"/>
                  </a:moveTo>
                  <a:cubicBezTo>
                    <a:pt x="74676" y="0"/>
                    <a:pt x="0" y="76425"/>
                    <a:pt x="0" y="181755"/>
                  </a:cubicBezTo>
                  <a:cubicBezTo>
                    <a:pt x="0" y="276835"/>
                    <a:pt x="73953" y="345977"/>
                    <a:pt x="175822" y="345977"/>
                  </a:cubicBezTo>
                  <a:cubicBezTo>
                    <a:pt x="278223" y="345977"/>
                    <a:pt x="355447" y="269171"/>
                    <a:pt x="355447" y="167322"/>
                  </a:cubicBezTo>
                  <a:cubicBezTo>
                    <a:pt x="355447" y="68800"/>
                    <a:pt x="282369" y="0"/>
                    <a:pt x="177724" y="0"/>
                  </a:cubicBezTo>
                  <a:close/>
                  <a:moveTo>
                    <a:pt x="288948" y="180196"/>
                  </a:moveTo>
                  <a:cubicBezTo>
                    <a:pt x="288948" y="264056"/>
                    <a:pt x="246543" y="320381"/>
                    <a:pt x="183409" y="320381"/>
                  </a:cubicBezTo>
                  <a:cubicBezTo>
                    <a:pt x="125316" y="320381"/>
                    <a:pt x="66518" y="267973"/>
                    <a:pt x="66518" y="167835"/>
                  </a:cubicBezTo>
                  <a:cubicBezTo>
                    <a:pt x="66518" y="80095"/>
                    <a:pt x="107669" y="25577"/>
                    <a:pt x="173920" y="25577"/>
                  </a:cubicBezTo>
                  <a:cubicBezTo>
                    <a:pt x="241636" y="25577"/>
                    <a:pt x="288948" y="89166"/>
                    <a:pt x="288948" y="180196"/>
                  </a:cubicBezTo>
                  <a:close/>
                </a:path>
              </a:pathLst>
            </a:custGeom>
            <a:solidFill>
              <a:srgbClr val="000000"/>
            </a:solidFill>
            <a:ln w="1900"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CF9930E1-FE54-4F3B-9AA4-8FAFAEBA68E4}"/>
                </a:ext>
              </a:extLst>
            </p:cNvPr>
            <p:cNvSpPr/>
            <p:nvPr/>
          </p:nvSpPr>
          <p:spPr>
            <a:xfrm>
              <a:off x="10629233" y="330434"/>
              <a:ext cx="319735" cy="345976"/>
            </a:xfrm>
            <a:custGeom>
              <a:avLst/>
              <a:gdLst>
                <a:gd name="connsiteX0" fmla="*/ 319735 w 319735"/>
                <a:gd name="connsiteY0" fmla="*/ 268620 h 345976"/>
                <a:gd name="connsiteX1" fmla="*/ 293455 w 319735"/>
                <a:gd name="connsiteY1" fmla="*/ 268943 h 345976"/>
                <a:gd name="connsiteX2" fmla="*/ 292143 w 319735"/>
                <a:gd name="connsiteY2" fmla="*/ 270750 h 345976"/>
                <a:gd name="connsiteX3" fmla="*/ 193260 w 319735"/>
                <a:gd name="connsiteY3" fmla="*/ 318290 h 345976"/>
                <a:gd name="connsiteX4" fmla="*/ 114134 w 319735"/>
                <a:gd name="connsiteY4" fmla="*/ 286875 h 345976"/>
                <a:gd name="connsiteX5" fmla="*/ 67792 w 319735"/>
                <a:gd name="connsiteY5" fmla="*/ 165743 h 345976"/>
                <a:gd name="connsiteX6" fmla="*/ 184588 w 319735"/>
                <a:gd name="connsiteY6" fmla="*/ 25538 h 345976"/>
                <a:gd name="connsiteX7" fmla="*/ 291382 w 319735"/>
                <a:gd name="connsiteY7" fmla="*/ 81864 h 345976"/>
                <a:gd name="connsiteX8" fmla="*/ 292675 w 319735"/>
                <a:gd name="connsiteY8" fmla="*/ 84412 h 345976"/>
                <a:gd name="connsiteX9" fmla="*/ 314449 w 319735"/>
                <a:gd name="connsiteY9" fmla="*/ 84070 h 345976"/>
                <a:gd name="connsiteX10" fmla="*/ 312338 w 319735"/>
                <a:gd name="connsiteY10" fmla="*/ 14851 h 345976"/>
                <a:gd name="connsiteX11" fmla="*/ 294482 w 319735"/>
                <a:gd name="connsiteY11" fmla="*/ 14851 h 345976"/>
                <a:gd name="connsiteX12" fmla="*/ 293550 w 319735"/>
                <a:gd name="connsiteY12" fmla="*/ 15479 h 345976"/>
                <a:gd name="connsiteX13" fmla="*/ 286761 w 319735"/>
                <a:gd name="connsiteY13" fmla="*/ 16981 h 345976"/>
                <a:gd name="connsiteX14" fmla="*/ 266053 w 319735"/>
                <a:gd name="connsiteY14" fmla="*/ 12608 h 345976"/>
                <a:gd name="connsiteX15" fmla="*/ 182668 w 319735"/>
                <a:gd name="connsiteY15" fmla="*/ 0 h 345976"/>
                <a:gd name="connsiteX16" fmla="*/ 0 w 319735"/>
                <a:gd name="connsiteY16" fmla="*/ 179150 h 345976"/>
                <a:gd name="connsiteX17" fmla="*/ 178750 w 319735"/>
                <a:gd name="connsiteY17" fmla="*/ 345977 h 345976"/>
                <a:gd name="connsiteX18" fmla="*/ 242682 w 319735"/>
                <a:gd name="connsiteY18" fmla="*/ 338580 h 345976"/>
                <a:gd name="connsiteX19" fmla="*/ 275865 w 319735"/>
                <a:gd name="connsiteY19" fmla="*/ 334111 h 345976"/>
                <a:gd name="connsiteX20" fmla="*/ 280733 w 319735"/>
                <a:gd name="connsiteY20" fmla="*/ 333959 h 345976"/>
                <a:gd name="connsiteX21" fmla="*/ 291458 w 319735"/>
                <a:gd name="connsiteY21" fmla="*/ 334206 h 345976"/>
                <a:gd name="connsiteX22" fmla="*/ 296345 w 319735"/>
                <a:gd name="connsiteY22" fmla="*/ 334681 h 34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735" h="345976">
                  <a:moveTo>
                    <a:pt x="319735" y="268620"/>
                  </a:moveTo>
                  <a:lnTo>
                    <a:pt x="293455" y="268943"/>
                  </a:lnTo>
                  <a:lnTo>
                    <a:pt x="292143" y="270750"/>
                  </a:lnTo>
                  <a:cubicBezTo>
                    <a:pt x="265520" y="303533"/>
                    <a:pt x="237700" y="316863"/>
                    <a:pt x="193260" y="318290"/>
                  </a:cubicBezTo>
                  <a:cubicBezTo>
                    <a:pt x="163614" y="319355"/>
                    <a:pt x="136345" y="308382"/>
                    <a:pt x="114134" y="286875"/>
                  </a:cubicBezTo>
                  <a:cubicBezTo>
                    <a:pt x="84678" y="258351"/>
                    <a:pt x="67792" y="214215"/>
                    <a:pt x="67792" y="165743"/>
                  </a:cubicBezTo>
                  <a:cubicBezTo>
                    <a:pt x="67792" y="81883"/>
                    <a:pt x="114724" y="25538"/>
                    <a:pt x="184588" y="25538"/>
                  </a:cubicBezTo>
                  <a:cubicBezTo>
                    <a:pt x="233612" y="25538"/>
                    <a:pt x="274534" y="47103"/>
                    <a:pt x="291382" y="81864"/>
                  </a:cubicBezTo>
                  <a:lnTo>
                    <a:pt x="292675" y="84412"/>
                  </a:lnTo>
                  <a:lnTo>
                    <a:pt x="314449" y="84070"/>
                  </a:lnTo>
                  <a:lnTo>
                    <a:pt x="312338" y="14851"/>
                  </a:lnTo>
                  <a:lnTo>
                    <a:pt x="294482" y="14851"/>
                  </a:lnTo>
                  <a:lnTo>
                    <a:pt x="293550" y="15479"/>
                  </a:lnTo>
                  <a:cubicBezTo>
                    <a:pt x="291498" y="16674"/>
                    <a:pt x="289125" y="17199"/>
                    <a:pt x="286761" y="16981"/>
                  </a:cubicBezTo>
                  <a:cubicBezTo>
                    <a:pt x="282559" y="16829"/>
                    <a:pt x="275352" y="15080"/>
                    <a:pt x="266053" y="12608"/>
                  </a:cubicBezTo>
                  <a:cubicBezTo>
                    <a:pt x="246999" y="7606"/>
                    <a:pt x="218114" y="0"/>
                    <a:pt x="182668" y="0"/>
                  </a:cubicBezTo>
                  <a:cubicBezTo>
                    <a:pt x="56478" y="0"/>
                    <a:pt x="0" y="89965"/>
                    <a:pt x="0" y="179150"/>
                  </a:cubicBezTo>
                  <a:cubicBezTo>
                    <a:pt x="0" y="280486"/>
                    <a:pt x="70169" y="345977"/>
                    <a:pt x="178750" y="345977"/>
                  </a:cubicBezTo>
                  <a:cubicBezTo>
                    <a:pt x="203015" y="345977"/>
                    <a:pt x="224940" y="341888"/>
                    <a:pt x="242682" y="338580"/>
                  </a:cubicBezTo>
                  <a:cubicBezTo>
                    <a:pt x="254643" y="336336"/>
                    <a:pt x="266167" y="334320"/>
                    <a:pt x="275865" y="334111"/>
                  </a:cubicBezTo>
                  <a:cubicBezTo>
                    <a:pt x="277995" y="334111"/>
                    <a:pt x="279478" y="334111"/>
                    <a:pt x="280733" y="333959"/>
                  </a:cubicBezTo>
                  <a:cubicBezTo>
                    <a:pt x="284310" y="333862"/>
                    <a:pt x="287889" y="333944"/>
                    <a:pt x="291458" y="334206"/>
                  </a:cubicBezTo>
                  <a:lnTo>
                    <a:pt x="296345" y="334681"/>
                  </a:lnTo>
                  <a:close/>
                </a:path>
              </a:pathLst>
            </a:custGeom>
            <a:solidFill>
              <a:srgbClr val="000000"/>
            </a:solidFill>
            <a:ln w="1900" cap="flat">
              <a:noFill/>
              <a:prstDash val="solid"/>
              <a:miter/>
            </a:ln>
          </p:spPr>
          <p:txBody>
            <a:bodyPr rtlCol="0" anchor="ctr"/>
            <a:lstStyle/>
            <a:p>
              <a:endParaRPr lang="de-DE"/>
            </a:p>
          </p:txBody>
        </p:sp>
      </p:grpSp>
      <p:sp>
        <p:nvSpPr>
          <p:cNvPr id="33" name="Foliennummernplatzhalter 5">
            <a:extLst>
              <a:ext uri="{FF2B5EF4-FFF2-40B4-BE49-F238E27FC236}">
                <a16:creationId xmlns:a16="http://schemas.microsoft.com/office/drawing/2014/main" id="{02713C31-844A-4158-8195-F5D5AF250EEE}"/>
              </a:ext>
            </a:extLst>
          </p:cNvPr>
          <p:cNvSpPr>
            <a:spLocks noGrp="1"/>
          </p:cNvSpPr>
          <p:nvPr>
            <p:ph type="sldNum" sz="quarter" idx="4"/>
          </p:nvPr>
        </p:nvSpPr>
        <p:spPr>
          <a:xfrm>
            <a:off x="11555481" y="6602770"/>
            <a:ext cx="157094" cy="153888"/>
          </a:xfrm>
          <a:prstGeom prst="rect">
            <a:avLst/>
          </a:prstGeom>
        </p:spPr>
        <p:txBody>
          <a:bodyPr vert="horz" wrap="none" lIns="0" tIns="0" rIns="0" bIns="0" rtlCol="0" anchor="b">
            <a:spAutoFit/>
          </a:bodyPr>
          <a:lstStyle>
            <a:lvl1pPr algn="r">
              <a:defRPr sz="1000">
                <a:solidFill>
                  <a:schemeClr val="tx2"/>
                </a:solidFill>
              </a:defRPr>
            </a:lvl1pPr>
          </a:lstStyle>
          <a:p>
            <a:fld id="{C50CBA42-791E-4851-9FB4-39A223136DC3}" type="slidenum">
              <a:rPr lang="de-DE" smtClean="0"/>
              <a:t>‹#›</a:t>
            </a:fld>
            <a:endParaRPr lang="de-DE"/>
          </a:p>
        </p:txBody>
      </p:sp>
      <p:sp>
        <p:nvSpPr>
          <p:cNvPr id="34" name="Fußzeilenplatzhalter 2">
            <a:extLst>
              <a:ext uri="{FF2B5EF4-FFF2-40B4-BE49-F238E27FC236}">
                <a16:creationId xmlns:a16="http://schemas.microsoft.com/office/drawing/2014/main" id="{369BAB78-9971-49D2-9300-BB7BAB8C26E0}"/>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dirty="0"/>
              <a:t>Senacor Technologies AG</a:t>
            </a:r>
          </a:p>
        </p:txBody>
      </p:sp>
      <p:sp>
        <p:nvSpPr>
          <p:cNvPr id="24" name="Datumsplatzhalter 3">
            <a:extLst>
              <a:ext uri="{FF2B5EF4-FFF2-40B4-BE49-F238E27FC236}">
                <a16:creationId xmlns:a16="http://schemas.microsoft.com/office/drawing/2014/main" id="{E4E2224A-E0F4-4E75-B4F9-CFD1B4571E90}"/>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700081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77787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479423" y="1775816"/>
            <a:ext cx="11233150" cy="451068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Fußzeilenplatzhalter 2">
            <a:extLst>
              <a:ext uri="{FF2B5EF4-FFF2-40B4-BE49-F238E27FC236}">
                <a16:creationId xmlns:a16="http://schemas.microsoft.com/office/drawing/2014/main" id="{53712EDA-C950-4774-86F3-2E0D9426DA88}"/>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2" name="Titelplatzhalter 1">
            <a:extLst>
              <a:ext uri="{FF2B5EF4-FFF2-40B4-BE49-F238E27FC236}">
                <a16:creationId xmlns:a16="http://schemas.microsoft.com/office/drawing/2014/main" id="{14F2448F-01E3-414B-858D-35126C2EF5CA}"/>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3" name="Datumsplatzhalter 3">
            <a:extLst>
              <a:ext uri="{FF2B5EF4-FFF2-40B4-BE49-F238E27FC236}">
                <a16:creationId xmlns:a16="http://schemas.microsoft.com/office/drawing/2014/main" id="{2B651C6A-0655-409F-86BD-827CFDE5159C}"/>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167415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Kapiteltrenn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03889B5-5769-4D31-B1F9-4724D3A628C4}"/>
              </a:ext>
            </a:extLst>
          </p:cNvPr>
          <p:cNvGraphicFramePr>
            <a:graphicFrameLocks noChangeAspect="1"/>
          </p:cNvGraphicFramePr>
          <p:nvPr>
            <p:custDataLst>
              <p:tags r:id="rId1"/>
            </p:custDataLst>
            <p:extLst>
              <p:ext uri="{D42A27DB-BD31-4B8C-83A1-F6EECF244321}">
                <p14:modId xmlns:p14="http://schemas.microsoft.com/office/powerpoint/2010/main" val="324753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kt 7" hidden="1">
                        <a:extLst>
                          <a:ext uri="{FF2B5EF4-FFF2-40B4-BE49-F238E27FC236}">
                            <a16:creationId xmlns:a16="http://schemas.microsoft.com/office/drawing/2014/main" id="{F03889B5-5769-4D31-B1F9-4724D3A628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7E9E9310-804D-43C9-A137-B7D9C63A9A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2" name="Titel 1">
            <a:extLst>
              <a:ext uri="{FF2B5EF4-FFF2-40B4-BE49-F238E27FC236}">
                <a16:creationId xmlns:a16="http://schemas.microsoft.com/office/drawing/2014/main" id="{18F5DC52-C560-4903-AA44-0497E08EA686}"/>
              </a:ext>
            </a:extLst>
          </p:cNvPr>
          <p:cNvSpPr>
            <a:spLocks noGrp="1"/>
          </p:cNvSpPr>
          <p:nvPr>
            <p:ph type="ctrTitle" hasCustomPrompt="1"/>
          </p:nvPr>
        </p:nvSpPr>
        <p:spPr>
          <a:xfrm>
            <a:off x="479425" y="2621920"/>
            <a:ext cx="9180513" cy="997196"/>
          </a:xfrm>
        </p:spPr>
        <p:txBody>
          <a:bodyPr lIns="0" tIns="0" rIns="0" bIns="0" anchor="b">
            <a:noAutofit/>
          </a:bodyPr>
          <a:lstStyle>
            <a:lvl1pPr algn="l">
              <a:defRPr sz="3600" b="1" cap="all" baseline="0">
                <a:solidFill>
                  <a:schemeClr val="tx1"/>
                </a:solidFill>
                <a:latin typeface="+mn-lt"/>
              </a:defRPr>
            </a:lvl1pPr>
          </a:lstStyle>
          <a:p>
            <a:r>
              <a:rPr lang="de-DE" dirty="0"/>
              <a:t>Click </a:t>
            </a:r>
            <a:r>
              <a:rPr lang="de-DE" dirty="0" err="1"/>
              <a:t>to</a:t>
            </a:r>
            <a:r>
              <a:rPr lang="de-DE" dirty="0"/>
              <a:t> </a:t>
            </a:r>
            <a:r>
              <a:rPr lang="de-DE" dirty="0" err="1"/>
              <a:t>add</a:t>
            </a:r>
            <a:r>
              <a:rPr lang="de-DE" dirty="0"/>
              <a:t> title</a:t>
            </a:r>
            <a:br>
              <a:rPr lang="de-DE" dirty="0"/>
            </a:br>
            <a:r>
              <a:rPr lang="de-DE" dirty="0"/>
              <a:t>36 </a:t>
            </a:r>
            <a:r>
              <a:rPr lang="de-DE" dirty="0" err="1"/>
              <a:t>pt</a:t>
            </a:r>
            <a:r>
              <a:rPr lang="de-DE" dirty="0"/>
              <a:t>. </a:t>
            </a:r>
            <a:r>
              <a:rPr lang="de-DE" dirty="0" err="1"/>
              <a:t>Bold</a:t>
            </a:r>
            <a:r>
              <a:rPr lang="de-DE" dirty="0"/>
              <a:t>, </a:t>
            </a:r>
            <a:r>
              <a:rPr lang="de-DE" dirty="0" err="1"/>
              <a:t>caps</a:t>
            </a:r>
            <a:r>
              <a:rPr lang="de-DE" dirty="0"/>
              <a:t> </a:t>
            </a:r>
          </a:p>
        </p:txBody>
      </p:sp>
      <p:sp>
        <p:nvSpPr>
          <p:cNvPr id="3" name="Untertitel 2">
            <a:extLst>
              <a:ext uri="{FF2B5EF4-FFF2-40B4-BE49-F238E27FC236}">
                <a16:creationId xmlns:a16="http://schemas.microsoft.com/office/drawing/2014/main" id="{805457E3-5FFF-4E34-B755-5A5C2B372ECD}"/>
              </a:ext>
            </a:extLst>
          </p:cNvPr>
          <p:cNvSpPr>
            <a:spLocks noGrp="1"/>
          </p:cNvSpPr>
          <p:nvPr>
            <p:ph type="subTitle" idx="1" hasCustomPrompt="1"/>
          </p:nvPr>
        </p:nvSpPr>
        <p:spPr>
          <a:xfrm>
            <a:off x="479425" y="3869599"/>
            <a:ext cx="9180513" cy="276999"/>
          </a:xfrm>
          <a:prstGeom prst="rect">
            <a:avLst/>
          </a:prstGeom>
        </p:spPr>
        <p:txBody>
          <a:bodyPr lIns="0" tIns="0" rIns="0" bIns="0">
            <a:spAutoFit/>
          </a:bodyPr>
          <a:lstStyle>
            <a:lvl1pPr marL="0" indent="0" algn="l">
              <a:lnSpc>
                <a:spcPct val="100000"/>
              </a:lnSpc>
              <a:spcBef>
                <a:spcPts val="0"/>
              </a:spcBef>
              <a:spcAft>
                <a:spcPts val="0"/>
              </a:spcAft>
              <a:buNone/>
              <a:defRPr sz="1800" b="0" cap="none" baseline="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r>
              <a:rPr lang="de-DE" dirty="0"/>
              <a:t>, 18 </a:t>
            </a:r>
            <a:r>
              <a:rPr lang="de-DE" dirty="0" err="1"/>
              <a:t>pt</a:t>
            </a:r>
            <a:r>
              <a:rPr lang="de-DE" dirty="0"/>
              <a:t>. Regular</a:t>
            </a:r>
          </a:p>
        </p:txBody>
      </p:sp>
      <p:sp>
        <p:nvSpPr>
          <p:cNvPr id="14" name="Rechteck 13">
            <a:extLst>
              <a:ext uri="{FF2B5EF4-FFF2-40B4-BE49-F238E27FC236}">
                <a16:creationId xmlns:a16="http://schemas.microsoft.com/office/drawing/2014/main" id="{0E741EA5-5CD3-4B6D-A654-564CC372A38B}"/>
              </a:ext>
            </a:extLst>
          </p:cNvPr>
          <p:cNvSpPr/>
          <p:nvPr/>
        </p:nvSpPr>
        <p:spPr>
          <a:xfrm>
            <a:off x="479425" y="3726357"/>
            <a:ext cx="684000" cy="3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Date Placeholder 5">
            <a:extLst>
              <a:ext uri="{FF2B5EF4-FFF2-40B4-BE49-F238E27FC236}">
                <a16:creationId xmlns:a16="http://schemas.microsoft.com/office/drawing/2014/main" id="{D7D92C7E-0C00-4825-8D3F-5776FC7FDFFF}"/>
              </a:ext>
            </a:extLst>
          </p:cNvPr>
          <p:cNvSpPr>
            <a:spLocks noGrp="1"/>
          </p:cNvSpPr>
          <p:nvPr>
            <p:ph type="dt" sz="half" idx="10"/>
          </p:nvPr>
        </p:nvSpPr>
        <p:spPr/>
        <p:txBody>
          <a:bodyPr/>
          <a:lstStyle/>
          <a:p>
            <a:fld id="{E7D19B5A-7A8B-44FF-84E8-74FB1112DAE5}" type="datetime4">
              <a:rPr lang="de-DE" smtClean="0"/>
              <a:t>29. November 2022</a:t>
            </a:fld>
            <a:endParaRPr lang="de-DE"/>
          </a:p>
        </p:txBody>
      </p:sp>
      <p:sp>
        <p:nvSpPr>
          <p:cNvPr id="9" name="Slide Number Placeholder 8">
            <a:extLst>
              <a:ext uri="{FF2B5EF4-FFF2-40B4-BE49-F238E27FC236}">
                <a16:creationId xmlns:a16="http://schemas.microsoft.com/office/drawing/2014/main" id="{38944C8D-D9EC-4203-8448-92999CA02E3C}"/>
              </a:ext>
            </a:extLst>
          </p:cNvPr>
          <p:cNvSpPr>
            <a:spLocks noGrp="1"/>
          </p:cNvSpPr>
          <p:nvPr>
            <p:ph type="sldNum" sz="quarter" idx="11"/>
          </p:nvPr>
        </p:nvSpPr>
        <p:spPr/>
        <p:txBody>
          <a:bodyPr/>
          <a:lstStyle/>
          <a:p>
            <a:fld id="{C50CBA42-791E-4851-9FB4-39A223136DC3}" type="slidenum">
              <a:rPr lang="de-DE" smtClean="0"/>
              <a:t>‹#›</a:t>
            </a:fld>
            <a:endParaRPr lang="de-DE"/>
          </a:p>
        </p:txBody>
      </p:sp>
      <p:grpSp>
        <p:nvGrpSpPr>
          <p:cNvPr id="22" name="Gruppieren 21">
            <a:extLst>
              <a:ext uri="{FF2B5EF4-FFF2-40B4-BE49-F238E27FC236}">
                <a16:creationId xmlns:a16="http://schemas.microsoft.com/office/drawing/2014/main" id="{9AB7CE62-4546-4E27-A806-78B8C0A61D99}"/>
              </a:ext>
            </a:extLst>
          </p:cNvPr>
          <p:cNvGrpSpPr/>
          <p:nvPr userDrawn="1"/>
        </p:nvGrpSpPr>
        <p:grpSpPr>
          <a:xfrm>
            <a:off x="10240056" y="330434"/>
            <a:ext cx="1472671" cy="212964"/>
            <a:chOff x="10240056" y="330434"/>
            <a:chExt cx="1472671" cy="212964"/>
          </a:xfrm>
        </p:grpSpPr>
        <p:sp>
          <p:nvSpPr>
            <p:cNvPr id="23" name="Freihandform: Form 22">
              <a:extLst>
                <a:ext uri="{FF2B5EF4-FFF2-40B4-BE49-F238E27FC236}">
                  <a16:creationId xmlns:a16="http://schemas.microsoft.com/office/drawing/2014/main" id="{4F4EEA07-6039-493D-8B8C-854E192D43F0}"/>
                </a:ext>
              </a:extLst>
            </p:cNvPr>
            <p:cNvSpPr/>
            <p:nvPr/>
          </p:nvSpPr>
          <p:spPr>
            <a:xfrm>
              <a:off x="10602134" y="335724"/>
              <a:ext cx="213948" cy="204724"/>
            </a:xfrm>
            <a:custGeom>
              <a:avLst/>
              <a:gdLst>
                <a:gd name="connsiteX0" fmla="*/ 160491 w 213948"/>
                <a:gd name="connsiteY0" fmla="*/ 14175 h 204724"/>
                <a:gd name="connsiteX1" fmla="*/ 163136 w 213948"/>
                <a:gd name="connsiteY1" fmla="*/ 14327 h 204724"/>
                <a:gd name="connsiteX2" fmla="*/ 176854 w 213948"/>
                <a:gd name="connsiteY2" fmla="*/ 36064 h 204724"/>
                <a:gd name="connsiteX3" fmla="*/ 176854 w 213948"/>
                <a:gd name="connsiteY3" fmla="*/ 144712 h 204724"/>
                <a:gd name="connsiteX4" fmla="*/ 49408 w 213948"/>
                <a:gd name="connsiteY4" fmla="*/ 0 h 204724"/>
                <a:gd name="connsiteX5" fmla="*/ 4834 w 213948"/>
                <a:gd name="connsiteY5" fmla="*/ 0 h 204724"/>
                <a:gd name="connsiteX6" fmla="*/ 4834 w 213948"/>
                <a:gd name="connsiteY6" fmla="*/ 13894 h 204724"/>
                <a:gd name="connsiteX7" fmla="*/ 7292 w 213948"/>
                <a:gd name="connsiteY7" fmla="*/ 14140 h 204724"/>
                <a:gd name="connsiteX8" fmla="*/ 16727 w 213948"/>
                <a:gd name="connsiteY8" fmla="*/ 21163 h 204724"/>
                <a:gd name="connsiteX9" fmla="*/ 16727 w 213948"/>
                <a:gd name="connsiteY9" fmla="*/ 164821 h 204724"/>
                <a:gd name="connsiteX10" fmla="*/ 2681 w 213948"/>
                <a:gd name="connsiteY10" fmla="*/ 188372 h 204724"/>
                <a:gd name="connsiteX11" fmla="*/ 0 w 213948"/>
                <a:gd name="connsiteY11" fmla="*/ 188513 h 204724"/>
                <a:gd name="connsiteX12" fmla="*/ 0 w 213948"/>
                <a:gd name="connsiteY12" fmla="*/ 202559 h 204724"/>
                <a:gd name="connsiteX13" fmla="*/ 54523 w 213948"/>
                <a:gd name="connsiteY13" fmla="*/ 202559 h 204724"/>
                <a:gd name="connsiteX14" fmla="*/ 54523 w 213948"/>
                <a:gd name="connsiteY14" fmla="*/ 188665 h 204724"/>
                <a:gd name="connsiteX15" fmla="*/ 51936 w 213948"/>
                <a:gd name="connsiteY15" fmla="*/ 188466 h 204724"/>
                <a:gd name="connsiteX16" fmla="*/ 38580 w 213948"/>
                <a:gd name="connsiteY16" fmla="*/ 162457 h 204724"/>
                <a:gd name="connsiteX17" fmla="*/ 38580 w 213948"/>
                <a:gd name="connsiteY17" fmla="*/ 46048 h 204724"/>
                <a:gd name="connsiteX18" fmla="*/ 177873 w 213948"/>
                <a:gd name="connsiteY18" fmla="*/ 203776 h 204724"/>
                <a:gd name="connsiteX19" fmla="*/ 178716 w 213948"/>
                <a:gd name="connsiteY19" fmla="*/ 204724 h 204724"/>
                <a:gd name="connsiteX20" fmla="*/ 198708 w 213948"/>
                <a:gd name="connsiteY20" fmla="*/ 204724 h 204724"/>
                <a:gd name="connsiteX21" fmla="*/ 198708 w 213948"/>
                <a:gd name="connsiteY21" fmla="*/ 39271 h 204724"/>
                <a:gd name="connsiteX22" fmla="*/ 211373 w 213948"/>
                <a:gd name="connsiteY22" fmla="*/ 14421 h 204724"/>
                <a:gd name="connsiteX23" fmla="*/ 213948 w 213948"/>
                <a:gd name="connsiteY23" fmla="*/ 14198 h 204724"/>
                <a:gd name="connsiteX24" fmla="*/ 213948 w 213948"/>
                <a:gd name="connsiteY24" fmla="*/ 0 h 204724"/>
                <a:gd name="connsiteX25" fmla="*/ 160491 w 213948"/>
                <a:gd name="connsiteY25" fmla="*/ 0 h 20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3948" h="204724">
                  <a:moveTo>
                    <a:pt x="160491" y="14175"/>
                  </a:moveTo>
                  <a:lnTo>
                    <a:pt x="163136" y="14327"/>
                  </a:lnTo>
                  <a:cubicBezTo>
                    <a:pt x="176878" y="15111"/>
                    <a:pt x="176878" y="17909"/>
                    <a:pt x="176854" y="36064"/>
                  </a:cubicBezTo>
                  <a:lnTo>
                    <a:pt x="176854" y="144712"/>
                  </a:lnTo>
                  <a:lnTo>
                    <a:pt x="49408" y="0"/>
                  </a:lnTo>
                  <a:lnTo>
                    <a:pt x="4834" y="0"/>
                  </a:lnTo>
                  <a:lnTo>
                    <a:pt x="4834" y="13894"/>
                  </a:lnTo>
                  <a:lnTo>
                    <a:pt x="7292" y="14140"/>
                  </a:lnTo>
                  <a:cubicBezTo>
                    <a:pt x="14655" y="14643"/>
                    <a:pt x="16586" y="17101"/>
                    <a:pt x="16727" y="21163"/>
                  </a:cubicBezTo>
                  <a:lnTo>
                    <a:pt x="16727" y="164821"/>
                  </a:lnTo>
                  <a:cubicBezTo>
                    <a:pt x="16727" y="182882"/>
                    <a:pt x="16727" y="187728"/>
                    <a:pt x="2681" y="188372"/>
                  </a:cubicBezTo>
                  <a:lnTo>
                    <a:pt x="0" y="188513"/>
                  </a:lnTo>
                  <a:lnTo>
                    <a:pt x="0" y="202559"/>
                  </a:lnTo>
                  <a:lnTo>
                    <a:pt x="54523" y="202559"/>
                  </a:lnTo>
                  <a:lnTo>
                    <a:pt x="54523" y="188665"/>
                  </a:lnTo>
                  <a:lnTo>
                    <a:pt x="51936" y="188466"/>
                  </a:lnTo>
                  <a:cubicBezTo>
                    <a:pt x="38557" y="187424"/>
                    <a:pt x="38569" y="182145"/>
                    <a:pt x="38580" y="162457"/>
                  </a:cubicBezTo>
                  <a:lnTo>
                    <a:pt x="38580" y="46048"/>
                  </a:lnTo>
                  <a:lnTo>
                    <a:pt x="177873" y="203776"/>
                  </a:lnTo>
                  <a:lnTo>
                    <a:pt x="178716" y="204724"/>
                  </a:lnTo>
                  <a:lnTo>
                    <a:pt x="198708" y="204724"/>
                  </a:lnTo>
                  <a:lnTo>
                    <a:pt x="198708" y="39271"/>
                  </a:lnTo>
                  <a:cubicBezTo>
                    <a:pt x="198708" y="19080"/>
                    <a:pt x="199797" y="15521"/>
                    <a:pt x="211373" y="14421"/>
                  </a:cubicBezTo>
                  <a:lnTo>
                    <a:pt x="213948" y="14198"/>
                  </a:lnTo>
                  <a:lnTo>
                    <a:pt x="213948" y="0"/>
                  </a:lnTo>
                  <a:lnTo>
                    <a:pt x="160491" y="0"/>
                  </a:lnTo>
                  <a:close/>
                </a:path>
              </a:pathLst>
            </a:custGeom>
            <a:solidFill>
              <a:srgbClr val="000000"/>
            </a:solidFill>
            <a:ln w="1166"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E8790356-F41B-40CD-910B-D2B214C8B363}"/>
                </a:ext>
              </a:extLst>
            </p:cNvPr>
            <p:cNvSpPr/>
            <p:nvPr/>
          </p:nvSpPr>
          <p:spPr>
            <a:xfrm>
              <a:off x="10240056" y="330434"/>
              <a:ext cx="150166" cy="212964"/>
            </a:xfrm>
            <a:custGeom>
              <a:avLst/>
              <a:gdLst>
                <a:gd name="connsiteX0" fmla="*/ 87918 w 150166"/>
                <a:gd name="connsiteY0" fmla="*/ 86267 h 212964"/>
                <a:gd name="connsiteX1" fmla="*/ 87918 w 150166"/>
                <a:gd name="connsiteY1" fmla="*/ 86267 h 212964"/>
                <a:gd name="connsiteX2" fmla="*/ 43309 w 150166"/>
                <a:gd name="connsiteY2" fmla="*/ 46282 h 212964"/>
                <a:gd name="connsiteX3" fmla="*/ 73427 w 150166"/>
                <a:gd name="connsiteY3" fmla="*/ 17078 h 212964"/>
                <a:gd name="connsiteX4" fmla="*/ 120248 w 150166"/>
                <a:gd name="connsiteY4" fmla="*/ 39739 h 212964"/>
                <a:gd name="connsiteX5" fmla="*/ 121032 w 150166"/>
                <a:gd name="connsiteY5" fmla="*/ 41331 h 212964"/>
                <a:gd name="connsiteX6" fmla="*/ 136109 w 150166"/>
                <a:gd name="connsiteY6" fmla="*/ 41167 h 212964"/>
                <a:gd name="connsiteX7" fmla="*/ 129589 w 150166"/>
                <a:gd name="connsiteY7" fmla="*/ 3078 h 212964"/>
                <a:gd name="connsiteX8" fmla="*/ 120026 w 150166"/>
                <a:gd name="connsiteY8" fmla="*/ 3078 h 212964"/>
                <a:gd name="connsiteX9" fmla="*/ 118551 w 150166"/>
                <a:gd name="connsiteY9" fmla="*/ 3746 h 212964"/>
                <a:gd name="connsiteX10" fmla="*/ 110977 w 150166"/>
                <a:gd name="connsiteY10" fmla="*/ 5384 h 212964"/>
                <a:gd name="connsiteX11" fmla="*/ 101438 w 150166"/>
                <a:gd name="connsiteY11" fmla="*/ 3804 h 212964"/>
                <a:gd name="connsiteX12" fmla="*/ 95807 w 150166"/>
                <a:gd name="connsiteY12" fmla="*/ 2634 h 212964"/>
                <a:gd name="connsiteX13" fmla="*/ 69412 w 150166"/>
                <a:gd name="connsiteY13" fmla="*/ 0 h 212964"/>
                <a:gd name="connsiteX14" fmla="*/ 5103 w 150166"/>
                <a:gd name="connsiteY14" fmla="*/ 55096 h 212964"/>
                <a:gd name="connsiteX15" fmla="*/ 63817 w 150166"/>
                <a:gd name="connsiteY15" fmla="*/ 117415 h 212964"/>
                <a:gd name="connsiteX16" fmla="*/ 110966 w 150166"/>
                <a:gd name="connsiteY16" fmla="*/ 162094 h 212964"/>
                <a:gd name="connsiteX17" fmla="*/ 72093 w 150166"/>
                <a:gd name="connsiteY17" fmla="*/ 193944 h 212964"/>
                <a:gd name="connsiteX18" fmla="*/ 15030 w 150166"/>
                <a:gd name="connsiteY18" fmla="*/ 167174 h 212964"/>
                <a:gd name="connsiteX19" fmla="*/ 14327 w 150166"/>
                <a:gd name="connsiteY19" fmla="*/ 165418 h 212964"/>
                <a:gd name="connsiteX20" fmla="*/ 0 w 150166"/>
                <a:gd name="connsiteY20" fmla="*/ 165418 h 212964"/>
                <a:gd name="connsiteX21" fmla="*/ 6368 w 150166"/>
                <a:gd name="connsiteY21" fmla="*/ 208283 h 212964"/>
                <a:gd name="connsiteX22" fmla="*/ 17932 w 150166"/>
                <a:gd name="connsiteY22" fmla="*/ 208283 h 212964"/>
                <a:gd name="connsiteX23" fmla="*/ 18740 w 150166"/>
                <a:gd name="connsiteY23" fmla="*/ 207510 h 212964"/>
                <a:gd name="connsiteX24" fmla="*/ 25997 w 150166"/>
                <a:gd name="connsiteY24" fmla="*/ 205895 h 212964"/>
                <a:gd name="connsiteX25" fmla="*/ 38393 w 150166"/>
                <a:gd name="connsiteY25" fmla="*/ 208107 h 212964"/>
                <a:gd name="connsiteX26" fmla="*/ 74445 w 150166"/>
                <a:gd name="connsiteY26" fmla="*/ 212965 h 212964"/>
                <a:gd name="connsiteX27" fmla="*/ 150167 w 150166"/>
                <a:gd name="connsiteY27" fmla="*/ 152648 h 212964"/>
                <a:gd name="connsiteX28" fmla="*/ 87930 w 150166"/>
                <a:gd name="connsiteY28" fmla="*/ 86267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0166" h="212964">
                  <a:moveTo>
                    <a:pt x="87918" y="86267"/>
                  </a:moveTo>
                  <a:lnTo>
                    <a:pt x="87918" y="86267"/>
                  </a:lnTo>
                  <a:cubicBezTo>
                    <a:pt x="64976" y="74750"/>
                    <a:pt x="43309" y="63864"/>
                    <a:pt x="43309" y="46282"/>
                  </a:cubicBezTo>
                  <a:cubicBezTo>
                    <a:pt x="43309" y="34507"/>
                    <a:pt x="52884" y="17078"/>
                    <a:pt x="73427" y="17078"/>
                  </a:cubicBezTo>
                  <a:cubicBezTo>
                    <a:pt x="97142" y="17078"/>
                    <a:pt x="111305" y="23574"/>
                    <a:pt x="120248" y="39739"/>
                  </a:cubicBezTo>
                  <a:lnTo>
                    <a:pt x="121032" y="41331"/>
                  </a:lnTo>
                  <a:lnTo>
                    <a:pt x="136109" y="41167"/>
                  </a:lnTo>
                  <a:lnTo>
                    <a:pt x="129589" y="3078"/>
                  </a:lnTo>
                  <a:lnTo>
                    <a:pt x="120026" y="3078"/>
                  </a:lnTo>
                  <a:lnTo>
                    <a:pt x="118551" y="3746"/>
                  </a:lnTo>
                  <a:cubicBezTo>
                    <a:pt x="116205" y="4922"/>
                    <a:pt x="113600" y="5486"/>
                    <a:pt x="110977" y="5384"/>
                  </a:cubicBezTo>
                  <a:cubicBezTo>
                    <a:pt x="106998" y="5232"/>
                    <a:pt x="105242" y="4577"/>
                    <a:pt x="101438" y="3804"/>
                  </a:cubicBezTo>
                  <a:cubicBezTo>
                    <a:pt x="99822" y="3465"/>
                    <a:pt x="98031" y="3008"/>
                    <a:pt x="95807" y="2634"/>
                  </a:cubicBezTo>
                  <a:cubicBezTo>
                    <a:pt x="87117" y="890"/>
                    <a:pt x="78276" y="8"/>
                    <a:pt x="69412" y="0"/>
                  </a:cubicBezTo>
                  <a:cubicBezTo>
                    <a:pt x="33945" y="0"/>
                    <a:pt x="5103" y="24710"/>
                    <a:pt x="5103" y="55096"/>
                  </a:cubicBezTo>
                  <a:cubicBezTo>
                    <a:pt x="5103" y="85846"/>
                    <a:pt x="34952" y="101917"/>
                    <a:pt x="63817" y="117415"/>
                  </a:cubicBezTo>
                  <a:cubicBezTo>
                    <a:pt x="88059" y="130455"/>
                    <a:pt x="110966" y="142804"/>
                    <a:pt x="110966" y="162094"/>
                  </a:cubicBezTo>
                  <a:cubicBezTo>
                    <a:pt x="110966" y="180249"/>
                    <a:pt x="94251" y="193944"/>
                    <a:pt x="72093" y="193944"/>
                  </a:cubicBezTo>
                  <a:cubicBezTo>
                    <a:pt x="41799" y="193944"/>
                    <a:pt x="23130" y="185177"/>
                    <a:pt x="15030" y="167174"/>
                  </a:cubicBezTo>
                  <a:lnTo>
                    <a:pt x="14327" y="165418"/>
                  </a:lnTo>
                  <a:lnTo>
                    <a:pt x="0" y="165418"/>
                  </a:lnTo>
                  <a:lnTo>
                    <a:pt x="6368" y="208283"/>
                  </a:lnTo>
                  <a:lnTo>
                    <a:pt x="17932" y="208283"/>
                  </a:lnTo>
                  <a:lnTo>
                    <a:pt x="18740" y="207510"/>
                  </a:lnTo>
                  <a:cubicBezTo>
                    <a:pt x="20461" y="205965"/>
                    <a:pt x="22603" y="205860"/>
                    <a:pt x="25997" y="205895"/>
                  </a:cubicBezTo>
                  <a:cubicBezTo>
                    <a:pt x="29392" y="205930"/>
                    <a:pt x="33313" y="206878"/>
                    <a:pt x="38393" y="208107"/>
                  </a:cubicBezTo>
                  <a:cubicBezTo>
                    <a:pt x="50154" y="211257"/>
                    <a:pt x="62270" y="212889"/>
                    <a:pt x="74445" y="212965"/>
                  </a:cubicBezTo>
                  <a:cubicBezTo>
                    <a:pt x="118328" y="212965"/>
                    <a:pt x="150167" y="187600"/>
                    <a:pt x="150167" y="152648"/>
                  </a:cubicBezTo>
                  <a:cubicBezTo>
                    <a:pt x="150167" y="117696"/>
                    <a:pt x="117052" y="100922"/>
                    <a:pt x="87930" y="86267"/>
                  </a:cubicBezTo>
                </a:path>
              </a:pathLst>
            </a:custGeom>
            <a:solidFill>
              <a:srgbClr val="000000"/>
            </a:solidFill>
            <a:ln w="1166"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02FFEB2B-4438-4234-BDE3-01D0AB0F37D4}"/>
                </a:ext>
              </a:extLst>
            </p:cNvPr>
            <p:cNvSpPr/>
            <p:nvPr/>
          </p:nvSpPr>
          <p:spPr>
            <a:xfrm>
              <a:off x="10421346" y="335748"/>
              <a:ext cx="149780" cy="202570"/>
            </a:xfrm>
            <a:custGeom>
              <a:avLst/>
              <a:gdLst>
                <a:gd name="connsiteX0" fmla="*/ 10184 w 149780"/>
                <a:gd name="connsiteY0" fmla="*/ 176725 h 202570"/>
                <a:gd name="connsiteX1" fmla="*/ 2540 w 149780"/>
                <a:gd name="connsiteY1" fmla="*/ 187986 h 202570"/>
                <a:gd name="connsiteX2" fmla="*/ 0 w 149780"/>
                <a:gd name="connsiteY2" fmla="*/ 188232 h 202570"/>
                <a:gd name="connsiteX3" fmla="*/ 0 w 149780"/>
                <a:gd name="connsiteY3" fmla="*/ 202571 h 202570"/>
                <a:gd name="connsiteX4" fmla="*/ 144864 w 149780"/>
                <a:gd name="connsiteY4" fmla="*/ 202571 h 202570"/>
                <a:gd name="connsiteX5" fmla="*/ 149780 w 149780"/>
                <a:gd name="connsiteY5" fmla="*/ 162059 h 202570"/>
                <a:gd name="connsiteX6" fmla="*/ 134563 w 149780"/>
                <a:gd name="connsiteY6" fmla="*/ 162176 h 202570"/>
                <a:gd name="connsiteX7" fmla="*/ 133943 w 149780"/>
                <a:gd name="connsiteY7" fmla="*/ 164107 h 202570"/>
                <a:gd name="connsiteX8" fmla="*/ 101379 w 149780"/>
                <a:gd name="connsiteY8" fmla="*/ 182754 h 202570"/>
                <a:gd name="connsiteX9" fmla="*/ 64192 w 149780"/>
                <a:gd name="connsiteY9" fmla="*/ 182754 h 202570"/>
                <a:gd name="connsiteX10" fmla="*/ 49244 w 149780"/>
                <a:gd name="connsiteY10" fmla="*/ 162749 h 202570"/>
                <a:gd name="connsiteX11" fmla="*/ 49244 w 149780"/>
                <a:gd name="connsiteY11" fmla="*/ 107875 h 202570"/>
                <a:gd name="connsiteX12" fmla="*/ 89042 w 149780"/>
                <a:gd name="connsiteY12" fmla="*/ 107875 h 202570"/>
                <a:gd name="connsiteX13" fmla="*/ 107630 w 149780"/>
                <a:gd name="connsiteY13" fmla="*/ 118878 h 202570"/>
                <a:gd name="connsiteX14" fmla="*/ 108051 w 149780"/>
                <a:gd name="connsiteY14" fmla="*/ 121219 h 202570"/>
                <a:gd name="connsiteX15" fmla="*/ 122542 w 149780"/>
                <a:gd name="connsiteY15" fmla="*/ 121219 h 202570"/>
                <a:gd name="connsiteX16" fmla="*/ 122542 w 149780"/>
                <a:gd name="connsiteY16" fmla="*/ 75569 h 202570"/>
                <a:gd name="connsiteX17" fmla="*/ 108285 w 149780"/>
                <a:gd name="connsiteY17" fmla="*/ 75569 h 202570"/>
                <a:gd name="connsiteX18" fmla="*/ 107934 w 149780"/>
                <a:gd name="connsiteY18" fmla="*/ 77910 h 202570"/>
                <a:gd name="connsiteX19" fmla="*/ 89042 w 149780"/>
                <a:gd name="connsiteY19" fmla="*/ 88105 h 202570"/>
                <a:gd name="connsiteX20" fmla="*/ 49244 w 149780"/>
                <a:gd name="connsiteY20" fmla="*/ 88105 h 202570"/>
                <a:gd name="connsiteX21" fmla="*/ 49244 w 149780"/>
                <a:gd name="connsiteY21" fmla="*/ 19829 h 202570"/>
                <a:gd name="connsiteX22" fmla="*/ 102550 w 149780"/>
                <a:gd name="connsiteY22" fmla="*/ 19829 h 202570"/>
                <a:gd name="connsiteX23" fmla="*/ 124310 w 149780"/>
                <a:gd name="connsiteY23" fmla="*/ 34226 h 202570"/>
                <a:gd name="connsiteX24" fmla="*/ 124883 w 149780"/>
                <a:gd name="connsiteY24" fmla="*/ 36286 h 202570"/>
                <a:gd name="connsiteX25" fmla="*/ 140100 w 149780"/>
                <a:gd name="connsiteY25" fmla="*/ 36286 h 202570"/>
                <a:gd name="connsiteX26" fmla="*/ 137595 w 149780"/>
                <a:gd name="connsiteY26" fmla="*/ 0 h 202570"/>
                <a:gd name="connsiteX27" fmla="*/ 222 w 149780"/>
                <a:gd name="connsiteY27" fmla="*/ 0 h 202570"/>
                <a:gd name="connsiteX28" fmla="*/ 222 w 149780"/>
                <a:gd name="connsiteY28" fmla="*/ 14198 h 202570"/>
                <a:gd name="connsiteX29" fmla="*/ 2798 w 149780"/>
                <a:gd name="connsiteY29" fmla="*/ 14374 h 202570"/>
                <a:gd name="connsiteX30" fmla="*/ 10207 w 149780"/>
                <a:gd name="connsiteY30" fmla="*/ 32412 h 20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780" h="202570">
                  <a:moveTo>
                    <a:pt x="10184" y="176725"/>
                  </a:moveTo>
                  <a:cubicBezTo>
                    <a:pt x="9973" y="184626"/>
                    <a:pt x="9774" y="187260"/>
                    <a:pt x="2540" y="187986"/>
                  </a:cubicBezTo>
                  <a:lnTo>
                    <a:pt x="0" y="188232"/>
                  </a:lnTo>
                  <a:lnTo>
                    <a:pt x="0" y="202571"/>
                  </a:lnTo>
                  <a:lnTo>
                    <a:pt x="144864" y="202571"/>
                  </a:lnTo>
                  <a:lnTo>
                    <a:pt x="149780" y="162059"/>
                  </a:lnTo>
                  <a:lnTo>
                    <a:pt x="134563" y="162176"/>
                  </a:lnTo>
                  <a:lnTo>
                    <a:pt x="133943" y="164107"/>
                  </a:lnTo>
                  <a:cubicBezTo>
                    <a:pt x="127927" y="182964"/>
                    <a:pt x="121734" y="182906"/>
                    <a:pt x="101379" y="182754"/>
                  </a:cubicBezTo>
                  <a:lnTo>
                    <a:pt x="64192" y="182754"/>
                  </a:lnTo>
                  <a:cubicBezTo>
                    <a:pt x="49654" y="182754"/>
                    <a:pt x="49244" y="179909"/>
                    <a:pt x="49244" y="162749"/>
                  </a:cubicBezTo>
                  <a:lnTo>
                    <a:pt x="49244" y="107875"/>
                  </a:lnTo>
                  <a:lnTo>
                    <a:pt x="89042" y="107875"/>
                  </a:lnTo>
                  <a:cubicBezTo>
                    <a:pt x="102292" y="107875"/>
                    <a:pt x="105066" y="108168"/>
                    <a:pt x="107630" y="118878"/>
                  </a:cubicBezTo>
                  <a:lnTo>
                    <a:pt x="108051" y="121219"/>
                  </a:lnTo>
                  <a:lnTo>
                    <a:pt x="122542" y="121219"/>
                  </a:lnTo>
                  <a:lnTo>
                    <a:pt x="122542" y="75569"/>
                  </a:lnTo>
                  <a:lnTo>
                    <a:pt x="108285" y="75569"/>
                  </a:lnTo>
                  <a:lnTo>
                    <a:pt x="107934" y="77910"/>
                  </a:lnTo>
                  <a:cubicBezTo>
                    <a:pt x="106248" y="87368"/>
                    <a:pt x="103158" y="88105"/>
                    <a:pt x="89042" y="88105"/>
                  </a:cubicBezTo>
                  <a:lnTo>
                    <a:pt x="49244" y="88105"/>
                  </a:lnTo>
                  <a:lnTo>
                    <a:pt x="49244" y="19829"/>
                  </a:lnTo>
                  <a:lnTo>
                    <a:pt x="102550" y="19829"/>
                  </a:lnTo>
                  <a:cubicBezTo>
                    <a:pt x="116233" y="19829"/>
                    <a:pt x="120716" y="19829"/>
                    <a:pt x="124310" y="34226"/>
                  </a:cubicBezTo>
                  <a:lnTo>
                    <a:pt x="124883" y="36286"/>
                  </a:lnTo>
                  <a:lnTo>
                    <a:pt x="140100" y="36286"/>
                  </a:lnTo>
                  <a:lnTo>
                    <a:pt x="137595" y="0"/>
                  </a:lnTo>
                  <a:lnTo>
                    <a:pt x="222" y="0"/>
                  </a:lnTo>
                  <a:lnTo>
                    <a:pt x="222" y="14198"/>
                  </a:lnTo>
                  <a:lnTo>
                    <a:pt x="2798" y="14374"/>
                  </a:lnTo>
                  <a:cubicBezTo>
                    <a:pt x="10102" y="15252"/>
                    <a:pt x="10113" y="17886"/>
                    <a:pt x="10207" y="32412"/>
                  </a:cubicBezTo>
                  <a:close/>
                </a:path>
              </a:pathLst>
            </a:custGeom>
            <a:solidFill>
              <a:srgbClr val="000000"/>
            </a:solidFill>
            <a:ln w="1166"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C659A745-6D82-40CE-B674-CD4F7B6ABA23}"/>
                </a:ext>
              </a:extLst>
            </p:cNvPr>
            <p:cNvSpPr/>
            <p:nvPr/>
          </p:nvSpPr>
          <p:spPr>
            <a:xfrm>
              <a:off x="11496262" y="332657"/>
              <a:ext cx="216465" cy="208540"/>
            </a:xfrm>
            <a:custGeom>
              <a:avLst/>
              <a:gdLst>
                <a:gd name="connsiteX0" fmla="*/ 145742 w 216465"/>
                <a:gd name="connsiteY0" fmla="*/ 131087 h 208540"/>
                <a:gd name="connsiteX1" fmla="*/ 125609 w 216465"/>
                <a:gd name="connsiteY1" fmla="*/ 111902 h 208540"/>
                <a:gd name="connsiteX2" fmla="*/ 162609 w 216465"/>
                <a:gd name="connsiteY2" fmla="*/ 59556 h 208540"/>
                <a:gd name="connsiteX3" fmla="*/ 74738 w 216465"/>
                <a:gd name="connsiteY3" fmla="*/ 0 h 208540"/>
                <a:gd name="connsiteX4" fmla="*/ 36321 w 216465"/>
                <a:gd name="connsiteY4" fmla="*/ 632 h 208540"/>
                <a:gd name="connsiteX5" fmla="*/ 15147 w 216465"/>
                <a:gd name="connsiteY5" fmla="*/ 1662 h 208540"/>
                <a:gd name="connsiteX6" fmla="*/ 6450 w 216465"/>
                <a:gd name="connsiteY6" fmla="*/ 2247 h 208540"/>
                <a:gd name="connsiteX7" fmla="*/ 6450 w 216465"/>
                <a:gd name="connsiteY7" fmla="*/ 16586 h 208540"/>
                <a:gd name="connsiteX8" fmla="*/ 8978 w 216465"/>
                <a:gd name="connsiteY8" fmla="*/ 16703 h 208540"/>
                <a:gd name="connsiteX9" fmla="*/ 17698 w 216465"/>
                <a:gd name="connsiteY9" fmla="*/ 25061 h 208540"/>
                <a:gd name="connsiteX10" fmla="*/ 17581 w 216465"/>
                <a:gd name="connsiteY10" fmla="*/ 173413 h 208540"/>
                <a:gd name="connsiteX11" fmla="*/ 2669 w 216465"/>
                <a:gd name="connsiteY11" fmla="*/ 191486 h 208540"/>
                <a:gd name="connsiteX12" fmla="*/ 0 w 216465"/>
                <a:gd name="connsiteY12" fmla="*/ 191626 h 208540"/>
                <a:gd name="connsiteX13" fmla="*/ 0 w 216465"/>
                <a:gd name="connsiteY13" fmla="*/ 205672 h 208540"/>
                <a:gd name="connsiteX14" fmla="*/ 76435 w 216465"/>
                <a:gd name="connsiteY14" fmla="*/ 205672 h 208540"/>
                <a:gd name="connsiteX15" fmla="*/ 76435 w 216465"/>
                <a:gd name="connsiteY15" fmla="*/ 191544 h 208540"/>
                <a:gd name="connsiteX16" fmla="*/ 73790 w 216465"/>
                <a:gd name="connsiteY16" fmla="*/ 191544 h 208540"/>
                <a:gd name="connsiteX17" fmla="*/ 58374 w 216465"/>
                <a:gd name="connsiteY17" fmla="*/ 164353 h 208540"/>
                <a:gd name="connsiteX18" fmla="*/ 58374 w 216465"/>
                <a:gd name="connsiteY18" fmla="*/ 124192 h 208540"/>
                <a:gd name="connsiteX19" fmla="*/ 82651 w 216465"/>
                <a:gd name="connsiteY19" fmla="*/ 123982 h 208540"/>
                <a:gd name="connsiteX20" fmla="*/ 115425 w 216465"/>
                <a:gd name="connsiteY20" fmla="*/ 153526 h 208540"/>
                <a:gd name="connsiteX21" fmla="*/ 132035 w 216465"/>
                <a:gd name="connsiteY21" fmla="*/ 170276 h 208540"/>
                <a:gd name="connsiteX22" fmla="*/ 141926 w 216465"/>
                <a:gd name="connsiteY22" fmla="*/ 180612 h 208540"/>
                <a:gd name="connsiteX23" fmla="*/ 148797 w 216465"/>
                <a:gd name="connsiteY23" fmla="*/ 188232 h 208540"/>
                <a:gd name="connsiteX24" fmla="*/ 201798 w 216465"/>
                <a:gd name="connsiteY24" fmla="*/ 208540 h 208540"/>
                <a:gd name="connsiteX25" fmla="*/ 213281 w 216465"/>
                <a:gd name="connsiteY25" fmla="*/ 208376 h 208540"/>
                <a:gd name="connsiteX26" fmla="*/ 216465 w 216465"/>
                <a:gd name="connsiteY26" fmla="*/ 208306 h 208540"/>
                <a:gd name="connsiteX27" fmla="*/ 216465 w 216465"/>
                <a:gd name="connsiteY27" fmla="*/ 194201 h 208540"/>
                <a:gd name="connsiteX28" fmla="*/ 213504 w 216465"/>
                <a:gd name="connsiteY28" fmla="*/ 193932 h 208540"/>
                <a:gd name="connsiteX29" fmla="*/ 213504 w 216465"/>
                <a:gd name="connsiteY29" fmla="*/ 193932 h 208540"/>
                <a:gd name="connsiteX30" fmla="*/ 190316 w 216465"/>
                <a:gd name="connsiteY30" fmla="*/ 177159 h 208540"/>
                <a:gd name="connsiteX31" fmla="*/ 171131 w 216465"/>
                <a:gd name="connsiteY31" fmla="*/ 156967 h 208540"/>
                <a:gd name="connsiteX32" fmla="*/ 119031 w 216465"/>
                <a:gd name="connsiteY32" fmla="*/ 62728 h 208540"/>
                <a:gd name="connsiteX33" fmla="*/ 65713 w 216465"/>
                <a:gd name="connsiteY33" fmla="*/ 110041 h 208540"/>
                <a:gd name="connsiteX34" fmla="*/ 58397 w 216465"/>
                <a:gd name="connsiteY34" fmla="*/ 109725 h 208540"/>
                <a:gd name="connsiteX35" fmla="*/ 58397 w 216465"/>
                <a:gd name="connsiteY35" fmla="*/ 15334 h 208540"/>
                <a:gd name="connsiteX36" fmla="*/ 71542 w 216465"/>
                <a:gd name="connsiteY36" fmla="*/ 15182 h 208540"/>
                <a:gd name="connsiteX37" fmla="*/ 119031 w 216465"/>
                <a:gd name="connsiteY37" fmla="*/ 62728 h 20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6465" h="208540">
                  <a:moveTo>
                    <a:pt x="145742" y="131087"/>
                  </a:moveTo>
                  <a:cubicBezTo>
                    <a:pt x="143541" y="128874"/>
                    <a:pt x="132632" y="117930"/>
                    <a:pt x="125609" y="111902"/>
                  </a:cubicBezTo>
                  <a:cubicBezTo>
                    <a:pt x="150190" y="100325"/>
                    <a:pt x="162609" y="82721"/>
                    <a:pt x="162609" y="59556"/>
                  </a:cubicBezTo>
                  <a:cubicBezTo>
                    <a:pt x="162609" y="41647"/>
                    <a:pt x="154053" y="0"/>
                    <a:pt x="74738" y="0"/>
                  </a:cubicBezTo>
                  <a:cubicBezTo>
                    <a:pt x="68242" y="0"/>
                    <a:pt x="53037" y="0"/>
                    <a:pt x="36321" y="632"/>
                  </a:cubicBezTo>
                  <a:cubicBezTo>
                    <a:pt x="26243" y="1077"/>
                    <a:pt x="20332" y="1393"/>
                    <a:pt x="15147" y="1662"/>
                  </a:cubicBezTo>
                  <a:lnTo>
                    <a:pt x="6450" y="2247"/>
                  </a:lnTo>
                  <a:lnTo>
                    <a:pt x="6450" y="16586"/>
                  </a:lnTo>
                  <a:lnTo>
                    <a:pt x="8978" y="16703"/>
                  </a:lnTo>
                  <a:cubicBezTo>
                    <a:pt x="15240" y="17160"/>
                    <a:pt x="17616" y="18787"/>
                    <a:pt x="17698" y="25061"/>
                  </a:cubicBezTo>
                  <a:lnTo>
                    <a:pt x="17581" y="173413"/>
                  </a:lnTo>
                  <a:cubicBezTo>
                    <a:pt x="17195" y="185715"/>
                    <a:pt x="16411" y="190842"/>
                    <a:pt x="2669" y="191486"/>
                  </a:cubicBezTo>
                  <a:lnTo>
                    <a:pt x="0" y="191626"/>
                  </a:lnTo>
                  <a:lnTo>
                    <a:pt x="0" y="205672"/>
                  </a:lnTo>
                  <a:lnTo>
                    <a:pt x="76435" y="205672"/>
                  </a:lnTo>
                  <a:lnTo>
                    <a:pt x="76435" y="191544"/>
                  </a:lnTo>
                  <a:lnTo>
                    <a:pt x="73790" y="191544"/>
                  </a:lnTo>
                  <a:cubicBezTo>
                    <a:pt x="58362" y="190783"/>
                    <a:pt x="58374" y="187260"/>
                    <a:pt x="58374" y="164353"/>
                  </a:cubicBezTo>
                  <a:lnTo>
                    <a:pt x="58374" y="124192"/>
                  </a:lnTo>
                  <a:cubicBezTo>
                    <a:pt x="66462" y="124664"/>
                    <a:pt x="74574" y="124593"/>
                    <a:pt x="82651" y="123982"/>
                  </a:cubicBezTo>
                  <a:cubicBezTo>
                    <a:pt x="95000" y="133205"/>
                    <a:pt x="99635" y="137583"/>
                    <a:pt x="115425" y="153526"/>
                  </a:cubicBezTo>
                  <a:lnTo>
                    <a:pt x="132035" y="170276"/>
                  </a:lnTo>
                  <a:cubicBezTo>
                    <a:pt x="135804" y="174092"/>
                    <a:pt x="139058" y="177556"/>
                    <a:pt x="141926" y="180612"/>
                  </a:cubicBezTo>
                  <a:cubicBezTo>
                    <a:pt x="144525" y="183374"/>
                    <a:pt x="146784" y="185949"/>
                    <a:pt x="148797" y="188232"/>
                  </a:cubicBezTo>
                  <a:cubicBezTo>
                    <a:pt x="161087" y="202173"/>
                    <a:pt x="166706" y="208540"/>
                    <a:pt x="201798" y="208540"/>
                  </a:cubicBezTo>
                  <a:cubicBezTo>
                    <a:pt x="205310" y="208540"/>
                    <a:pt x="209044" y="208540"/>
                    <a:pt x="213281" y="208376"/>
                  </a:cubicBezTo>
                  <a:lnTo>
                    <a:pt x="216465" y="208306"/>
                  </a:lnTo>
                  <a:lnTo>
                    <a:pt x="216465" y="194201"/>
                  </a:lnTo>
                  <a:lnTo>
                    <a:pt x="213504" y="193932"/>
                  </a:lnTo>
                  <a:lnTo>
                    <a:pt x="213504" y="193932"/>
                  </a:lnTo>
                  <a:cubicBezTo>
                    <a:pt x="205228" y="193160"/>
                    <a:pt x="200253" y="187810"/>
                    <a:pt x="190316" y="177159"/>
                  </a:cubicBezTo>
                  <a:lnTo>
                    <a:pt x="171131" y="156967"/>
                  </a:lnTo>
                  <a:close/>
                  <a:moveTo>
                    <a:pt x="119031" y="62728"/>
                  </a:moveTo>
                  <a:cubicBezTo>
                    <a:pt x="119031" y="95210"/>
                    <a:pt x="104247" y="108554"/>
                    <a:pt x="65713" y="110041"/>
                  </a:cubicBezTo>
                  <a:cubicBezTo>
                    <a:pt x="64543" y="110041"/>
                    <a:pt x="61195" y="110041"/>
                    <a:pt x="58397" y="109725"/>
                  </a:cubicBezTo>
                  <a:lnTo>
                    <a:pt x="58397" y="15334"/>
                  </a:lnTo>
                  <a:cubicBezTo>
                    <a:pt x="62225" y="15182"/>
                    <a:pt x="68101" y="15182"/>
                    <a:pt x="71542" y="15182"/>
                  </a:cubicBezTo>
                  <a:cubicBezTo>
                    <a:pt x="103193" y="15170"/>
                    <a:pt x="119031" y="31159"/>
                    <a:pt x="119031" y="62728"/>
                  </a:cubicBezTo>
                  <a:close/>
                </a:path>
              </a:pathLst>
            </a:custGeom>
            <a:solidFill>
              <a:srgbClr val="000000"/>
            </a:solidFill>
            <a:ln w="1166"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222ACBAE-EDDD-42F9-AD6A-319DFE3E3FFA}"/>
                </a:ext>
              </a:extLst>
            </p:cNvPr>
            <p:cNvSpPr/>
            <p:nvPr/>
          </p:nvSpPr>
          <p:spPr>
            <a:xfrm>
              <a:off x="10830304" y="335724"/>
              <a:ext cx="207171" cy="202652"/>
            </a:xfrm>
            <a:custGeom>
              <a:avLst/>
              <a:gdLst>
                <a:gd name="connsiteX0" fmla="*/ 121430 w 207171"/>
                <a:gd name="connsiteY0" fmla="*/ 0 h 202652"/>
                <a:gd name="connsiteX1" fmla="*/ 90762 w 207171"/>
                <a:gd name="connsiteY1" fmla="*/ 0 h 202652"/>
                <a:gd name="connsiteX2" fmla="*/ 24979 w 207171"/>
                <a:gd name="connsiteY2" fmla="*/ 164529 h 202652"/>
                <a:gd name="connsiteX3" fmla="*/ 2610 w 207171"/>
                <a:gd name="connsiteY3" fmla="*/ 188431 h 202652"/>
                <a:gd name="connsiteX4" fmla="*/ 0 w 207171"/>
                <a:gd name="connsiteY4" fmla="*/ 188606 h 202652"/>
                <a:gd name="connsiteX5" fmla="*/ 0 w 207171"/>
                <a:gd name="connsiteY5" fmla="*/ 202652 h 202652"/>
                <a:gd name="connsiteX6" fmla="*/ 56735 w 207171"/>
                <a:gd name="connsiteY6" fmla="*/ 202652 h 202652"/>
                <a:gd name="connsiteX7" fmla="*/ 56735 w 207171"/>
                <a:gd name="connsiteY7" fmla="*/ 188712 h 202652"/>
                <a:gd name="connsiteX8" fmla="*/ 54184 w 207171"/>
                <a:gd name="connsiteY8" fmla="*/ 188489 h 202652"/>
                <a:gd name="connsiteX9" fmla="*/ 41530 w 207171"/>
                <a:gd name="connsiteY9" fmla="*/ 178879 h 202652"/>
                <a:gd name="connsiteX10" fmla="*/ 44562 w 207171"/>
                <a:gd name="connsiteY10" fmla="*/ 167478 h 202652"/>
                <a:gd name="connsiteX11" fmla="*/ 59779 w 207171"/>
                <a:gd name="connsiteY11" fmla="*/ 128196 h 202652"/>
                <a:gd name="connsiteX12" fmla="*/ 129706 w 207171"/>
                <a:gd name="connsiteY12" fmla="*/ 128196 h 202652"/>
                <a:gd name="connsiteX13" fmla="*/ 144923 w 207171"/>
                <a:gd name="connsiteY13" fmla="*/ 167385 h 202652"/>
                <a:gd name="connsiteX14" fmla="*/ 148844 w 207171"/>
                <a:gd name="connsiteY14" fmla="*/ 179734 h 202652"/>
                <a:gd name="connsiteX15" fmla="*/ 148937 w 207171"/>
                <a:gd name="connsiteY15" fmla="*/ 180202 h 202652"/>
                <a:gd name="connsiteX16" fmla="*/ 147896 w 207171"/>
                <a:gd name="connsiteY16" fmla="*/ 184802 h 202652"/>
                <a:gd name="connsiteX17" fmla="*/ 136577 w 207171"/>
                <a:gd name="connsiteY17" fmla="*/ 188243 h 202652"/>
                <a:gd name="connsiteX18" fmla="*/ 134002 w 207171"/>
                <a:gd name="connsiteY18" fmla="*/ 188442 h 202652"/>
                <a:gd name="connsiteX19" fmla="*/ 134002 w 207171"/>
                <a:gd name="connsiteY19" fmla="*/ 202606 h 202652"/>
                <a:gd name="connsiteX20" fmla="*/ 207171 w 207171"/>
                <a:gd name="connsiteY20" fmla="*/ 202606 h 202652"/>
                <a:gd name="connsiteX21" fmla="*/ 207171 w 207171"/>
                <a:gd name="connsiteY21" fmla="*/ 188700 h 202652"/>
                <a:gd name="connsiteX22" fmla="*/ 204502 w 207171"/>
                <a:gd name="connsiteY22" fmla="*/ 188559 h 202652"/>
                <a:gd name="connsiteX23" fmla="*/ 184603 w 207171"/>
                <a:gd name="connsiteY23" fmla="*/ 167759 h 202652"/>
                <a:gd name="connsiteX24" fmla="*/ 121641 w 207171"/>
                <a:gd name="connsiteY24" fmla="*/ 107161 h 202652"/>
                <a:gd name="connsiteX25" fmla="*/ 67797 w 207171"/>
                <a:gd name="connsiteY25" fmla="*/ 107161 h 202652"/>
                <a:gd name="connsiteX26" fmla="*/ 95140 w 207171"/>
                <a:gd name="connsiteY26" fmla="*/ 37012 h 20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7171" h="202652">
                  <a:moveTo>
                    <a:pt x="121430" y="0"/>
                  </a:moveTo>
                  <a:lnTo>
                    <a:pt x="90762" y="0"/>
                  </a:lnTo>
                  <a:lnTo>
                    <a:pt x="24979" y="164529"/>
                  </a:lnTo>
                  <a:cubicBezTo>
                    <a:pt x="17172" y="183994"/>
                    <a:pt x="15755" y="187506"/>
                    <a:pt x="2610" y="188431"/>
                  </a:cubicBezTo>
                  <a:lnTo>
                    <a:pt x="0" y="188606"/>
                  </a:lnTo>
                  <a:lnTo>
                    <a:pt x="0" y="202652"/>
                  </a:lnTo>
                  <a:lnTo>
                    <a:pt x="56735" y="202652"/>
                  </a:lnTo>
                  <a:lnTo>
                    <a:pt x="56735" y="188712"/>
                  </a:lnTo>
                  <a:lnTo>
                    <a:pt x="54184" y="188489"/>
                  </a:lnTo>
                  <a:cubicBezTo>
                    <a:pt x="43649" y="187319"/>
                    <a:pt x="41202" y="183315"/>
                    <a:pt x="41530" y="178879"/>
                  </a:cubicBezTo>
                  <a:cubicBezTo>
                    <a:pt x="41741" y="176105"/>
                    <a:pt x="42572" y="172839"/>
                    <a:pt x="44562" y="167478"/>
                  </a:cubicBezTo>
                  <a:lnTo>
                    <a:pt x="59779" y="128196"/>
                  </a:lnTo>
                  <a:lnTo>
                    <a:pt x="129706" y="128196"/>
                  </a:lnTo>
                  <a:lnTo>
                    <a:pt x="144923" y="167385"/>
                  </a:lnTo>
                  <a:cubicBezTo>
                    <a:pt x="147369" y="174326"/>
                    <a:pt x="147907" y="175672"/>
                    <a:pt x="148844" y="179734"/>
                  </a:cubicBezTo>
                  <a:lnTo>
                    <a:pt x="148937" y="180202"/>
                  </a:lnTo>
                  <a:cubicBezTo>
                    <a:pt x="149324" y="181814"/>
                    <a:pt x="148939" y="183513"/>
                    <a:pt x="147896" y="184802"/>
                  </a:cubicBezTo>
                  <a:cubicBezTo>
                    <a:pt x="146421" y="186651"/>
                    <a:pt x="142780" y="187763"/>
                    <a:pt x="136577" y="188243"/>
                  </a:cubicBezTo>
                  <a:lnTo>
                    <a:pt x="134002" y="188442"/>
                  </a:lnTo>
                  <a:lnTo>
                    <a:pt x="134002" y="202606"/>
                  </a:lnTo>
                  <a:lnTo>
                    <a:pt x="207171" y="202606"/>
                  </a:lnTo>
                  <a:lnTo>
                    <a:pt x="207171" y="188700"/>
                  </a:lnTo>
                  <a:lnTo>
                    <a:pt x="204502" y="188559"/>
                  </a:lnTo>
                  <a:cubicBezTo>
                    <a:pt x="191989" y="187986"/>
                    <a:pt x="190854" y="184896"/>
                    <a:pt x="184603" y="167759"/>
                  </a:cubicBezTo>
                  <a:close/>
                  <a:moveTo>
                    <a:pt x="121641" y="107161"/>
                  </a:moveTo>
                  <a:lnTo>
                    <a:pt x="67797" y="107161"/>
                  </a:lnTo>
                  <a:lnTo>
                    <a:pt x="95140" y="37012"/>
                  </a:lnTo>
                  <a:close/>
                </a:path>
              </a:pathLst>
            </a:custGeom>
            <a:solidFill>
              <a:srgbClr val="000000"/>
            </a:solidFill>
            <a:ln w="1166"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7D1E5F76-34FB-44BE-9BBD-4F97F534AFD9}"/>
                </a:ext>
              </a:extLst>
            </p:cNvPr>
            <p:cNvSpPr/>
            <p:nvPr/>
          </p:nvSpPr>
          <p:spPr>
            <a:xfrm>
              <a:off x="11256925" y="330434"/>
              <a:ext cx="218794" cy="212964"/>
            </a:xfrm>
            <a:custGeom>
              <a:avLst/>
              <a:gdLst>
                <a:gd name="connsiteX0" fmla="*/ 109397 w 218794"/>
                <a:gd name="connsiteY0" fmla="*/ 0 h 212964"/>
                <a:gd name="connsiteX1" fmla="*/ 0 w 218794"/>
                <a:gd name="connsiteY1" fmla="*/ 111878 h 212964"/>
                <a:gd name="connsiteX2" fmla="*/ 108227 w 218794"/>
                <a:gd name="connsiteY2" fmla="*/ 212965 h 212964"/>
                <a:gd name="connsiteX3" fmla="*/ 218794 w 218794"/>
                <a:gd name="connsiteY3" fmla="*/ 102994 h 212964"/>
                <a:gd name="connsiteX4" fmla="*/ 109397 w 218794"/>
                <a:gd name="connsiteY4" fmla="*/ 0 h 212964"/>
                <a:gd name="connsiteX5" fmla="*/ 177861 w 218794"/>
                <a:gd name="connsiteY5" fmla="*/ 110919 h 212964"/>
                <a:gd name="connsiteX6" fmla="*/ 112897 w 218794"/>
                <a:gd name="connsiteY6" fmla="*/ 197210 h 212964"/>
                <a:gd name="connsiteX7" fmla="*/ 40945 w 218794"/>
                <a:gd name="connsiteY7" fmla="*/ 103310 h 212964"/>
                <a:gd name="connsiteX8" fmla="*/ 107056 w 218794"/>
                <a:gd name="connsiteY8" fmla="*/ 15744 h 212964"/>
                <a:gd name="connsiteX9" fmla="*/ 177861 w 218794"/>
                <a:gd name="connsiteY9" fmla="*/ 110919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794" h="212964">
                  <a:moveTo>
                    <a:pt x="109397" y="0"/>
                  </a:moveTo>
                  <a:cubicBezTo>
                    <a:pt x="45966" y="0"/>
                    <a:pt x="0" y="47043"/>
                    <a:pt x="0" y="111878"/>
                  </a:cubicBezTo>
                  <a:cubicBezTo>
                    <a:pt x="0" y="170405"/>
                    <a:pt x="45522" y="212965"/>
                    <a:pt x="108227" y="212965"/>
                  </a:cubicBezTo>
                  <a:cubicBezTo>
                    <a:pt x="171259" y="212965"/>
                    <a:pt x="218794" y="165687"/>
                    <a:pt x="218794" y="102994"/>
                  </a:cubicBezTo>
                  <a:cubicBezTo>
                    <a:pt x="218794" y="42349"/>
                    <a:pt x="173811" y="0"/>
                    <a:pt x="109397" y="0"/>
                  </a:cubicBezTo>
                  <a:close/>
                  <a:moveTo>
                    <a:pt x="177861" y="110919"/>
                  </a:moveTo>
                  <a:cubicBezTo>
                    <a:pt x="177861" y="162539"/>
                    <a:pt x="151758" y="197210"/>
                    <a:pt x="112897" y="197210"/>
                  </a:cubicBezTo>
                  <a:cubicBezTo>
                    <a:pt x="77138" y="197210"/>
                    <a:pt x="40945" y="164950"/>
                    <a:pt x="40945" y="103310"/>
                  </a:cubicBezTo>
                  <a:cubicBezTo>
                    <a:pt x="40945" y="49302"/>
                    <a:pt x="66275" y="15744"/>
                    <a:pt x="107056" y="15744"/>
                  </a:cubicBezTo>
                  <a:cubicBezTo>
                    <a:pt x="148738" y="15744"/>
                    <a:pt x="177861" y="54886"/>
                    <a:pt x="177861" y="110919"/>
                  </a:cubicBezTo>
                  <a:close/>
                </a:path>
              </a:pathLst>
            </a:custGeom>
            <a:solidFill>
              <a:srgbClr val="000000"/>
            </a:solidFill>
            <a:ln w="1166"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F57A6181-B5E2-46EE-A2CA-5CC053B09B53}"/>
                </a:ext>
              </a:extLst>
            </p:cNvPr>
            <p:cNvSpPr/>
            <p:nvPr/>
          </p:nvSpPr>
          <p:spPr>
            <a:xfrm>
              <a:off x="11045727" y="330434"/>
              <a:ext cx="196811" cy="212964"/>
            </a:xfrm>
            <a:custGeom>
              <a:avLst/>
              <a:gdLst>
                <a:gd name="connsiteX0" fmla="*/ 196812 w 196811"/>
                <a:gd name="connsiteY0" fmla="*/ 165348 h 212964"/>
                <a:gd name="connsiteX1" fmla="*/ 180635 w 196811"/>
                <a:gd name="connsiteY1" fmla="*/ 165547 h 212964"/>
                <a:gd name="connsiteX2" fmla="*/ 179828 w 196811"/>
                <a:gd name="connsiteY2" fmla="*/ 166659 h 212964"/>
                <a:gd name="connsiteX3" fmla="*/ 118960 w 196811"/>
                <a:gd name="connsiteY3" fmla="*/ 195922 h 212964"/>
                <a:gd name="connsiteX4" fmla="*/ 70255 w 196811"/>
                <a:gd name="connsiteY4" fmla="*/ 176585 h 212964"/>
                <a:gd name="connsiteX5" fmla="*/ 41729 w 196811"/>
                <a:gd name="connsiteY5" fmla="*/ 102023 h 212964"/>
                <a:gd name="connsiteX6" fmla="*/ 113623 w 196811"/>
                <a:gd name="connsiteY6" fmla="*/ 15720 h 212964"/>
                <a:gd name="connsiteX7" fmla="*/ 179359 w 196811"/>
                <a:gd name="connsiteY7" fmla="*/ 50391 h 212964"/>
                <a:gd name="connsiteX8" fmla="*/ 180155 w 196811"/>
                <a:gd name="connsiteY8" fmla="*/ 51959 h 212964"/>
                <a:gd name="connsiteX9" fmla="*/ 193558 w 196811"/>
                <a:gd name="connsiteY9" fmla="*/ 51749 h 212964"/>
                <a:gd name="connsiteX10" fmla="*/ 192259 w 196811"/>
                <a:gd name="connsiteY10" fmla="*/ 9142 h 212964"/>
                <a:gd name="connsiteX11" fmla="*/ 181267 w 196811"/>
                <a:gd name="connsiteY11" fmla="*/ 9142 h 212964"/>
                <a:gd name="connsiteX12" fmla="*/ 180694 w 196811"/>
                <a:gd name="connsiteY12" fmla="*/ 9528 h 212964"/>
                <a:gd name="connsiteX13" fmla="*/ 176515 w 196811"/>
                <a:gd name="connsiteY13" fmla="*/ 10453 h 212964"/>
                <a:gd name="connsiteX14" fmla="*/ 163768 w 196811"/>
                <a:gd name="connsiteY14" fmla="*/ 7761 h 212964"/>
                <a:gd name="connsiteX15" fmla="*/ 112441 w 196811"/>
                <a:gd name="connsiteY15" fmla="*/ 0 h 212964"/>
                <a:gd name="connsiteX16" fmla="*/ 0 w 196811"/>
                <a:gd name="connsiteY16" fmla="*/ 110275 h 212964"/>
                <a:gd name="connsiteX17" fmla="*/ 110029 w 196811"/>
                <a:gd name="connsiteY17" fmla="*/ 212965 h 212964"/>
                <a:gd name="connsiteX18" fmla="*/ 149382 w 196811"/>
                <a:gd name="connsiteY18" fmla="*/ 208411 h 212964"/>
                <a:gd name="connsiteX19" fmla="*/ 169808 w 196811"/>
                <a:gd name="connsiteY19" fmla="*/ 205661 h 212964"/>
                <a:gd name="connsiteX20" fmla="*/ 172804 w 196811"/>
                <a:gd name="connsiteY20" fmla="*/ 205567 h 212964"/>
                <a:gd name="connsiteX21" fmla="*/ 179406 w 196811"/>
                <a:gd name="connsiteY21" fmla="*/ 205719 h 212964"/>
                <a:gd name="connsiteX22" fmla="*/ 182414 w 196811"/>
                <a:gd name="connsiteY22" fmla="*/ 206012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811" h="212964">
                  <a:moveTo>
                    <a:pt x="196812" y="165348"/>
                  </a:moveTo>
                  <a:lnTo>
                    <a:pt x="180635" y="165547"/>
                  </a:lnTo>
                  <a:lnTo>
                    <a:pt x="179828" y="166659"/>
                  </a:lnTo>
                  <a:cubicBezTo>
                    <a:pt x="163440" y="186839"/>
                    <a:pt x="146315" y="195044"/>
                    <a:pt x="118960" y="195922"/>
                  </a:cubicBezTo>
                  <a:cubicBezTo>
                    <a:pt x="100712" y="196577"/>
                    <a:pt x="83927" y="189824"/>
                    <a:pt x="70255" y="176585"/>
                  </a:cubicBezTo>
                  <a:cubicBezTo>
                    <a:pt x="52123" y="159027"/>
                    <a:pt x="41729" y="131859"/>
                    <a:pt x="41729" y="102023"/>
                  </a:cubicBezTo>
                  <a:cubicBezTo>
                    <a:pt x="41729" y="50403"/>
                    <a:pt x="70618" y="15720"/>
                    <a:pt x="113623" y="15720"/>
                  </a:cubicBezTo>
                  <a:cubicBezTo>
                    <a:pt x="143799" y="15720"/>
                    <a:pt x="168989" y="28994"/>
                    <a:pt x="179359" y="50391"/>
                  </a:cubicBezTo>
                  <a:lnTo>
                    <a:pt x="180155" y="51959"/>
                  </a:lnTo>
                  <a:lnTo>
                    <a:pt x="193558" y="51749"/>
                  </a:lnTo>
                  <a:lnTo>
                    <a:pt x="192259" y="9142"/>
                  </a:lnTo>
                  <a:lnTo>
                    <a:pt x="181267" y="9142"/>
                  </a:lnTo>
                  <a:lnTo>
                    <a:pt x="180694" y="9528"/>
                  </a:lnTo>
                  <a:cubicBezTo>
                    <a:pt x="179431" y="10264"/>
                    <a:pt x="177970" y="10587"/>
                    <a:pt x="176515" y="10453"/>
                  </a:cubicBezTo>
                  <a:cubicBezTo>
                    <a:pt x="173928" y="10359"/>
                    <a:pt x="169492" y="9282"/>
                    <a:pt x="163768" y="7761"/>
                  </a:cubicBezTo>
                  <a:cubicBezTo>
                    <a:pt x="152039" y="4682"/>
                    <a:pt x="134259" y="0"/>
                    <a:pt x="112441" y="0"/>
                  </a:cubicBezTo>
                  <a:cubicBezTo>
                    <a:pt x="34765" y="0"/>
                    <a:pt x="0" y="55377"/>
                    <a:pt x="0" y="110275"/>
                  </a:cubicBezTo>
                  <a:cubicBezTo>
                    <a:pt x="0" y="172652"/>
                    <a:pt x="43192" y="212965"/>
                    <a:pt x="110029" y="212965"/>
                  </a:cubicBezTo>
                  <a:cubicBezTo>
                    <a:pt x="124965" y="212965"/>
                    <a:pt x="138461" y="210448"/>
                    <a:pt x="149382" y="208411"/>
                  </a:cubicBezTo>
                  <a:cubicBezTo>
                    <a:pt x="156745" y="207030"/>
                    <a:pt x="163838" y="205789"/>
                    <a:pt x="169808" y="205661"/>
                  </a:cubicBezTo>
                  <a:cubicBezTo>
                    <a:pt x="171119" y="205661"/>
                    <a:pt x="172032" y="205661"/>
                    <a:pt x="172804" y="205567"/>
                  </a:cubicBezTo>
                  <a:cubicBezTo>
                    <a:pt x="175006" y="205507"/>
                    <a:pt x="177209" y="205558"/>
                    <a:pt x="179406" y="205719"/>
                  </a:cubicBezTo>
                  <a:lnTo>
                    <a:pt x="182414" y="206012"/>
                  </a:lnTo>
                  <a:close/>
                </a:path>
              </a:pathLst>
            </a:custGeom>
            <a:solidFill>
              <a:srgbClr val="000000"/>
            </a:solidFill>
            <a:ln w="1166" cap="flat">
              <a:noFill/>
              <a:prstDash val="solid"/>
              <a:miter/>
            </a:ln>
          </p:spPr>
          <p:txBody>
            <a:bodyPr rtlCol="0" anchor="ctr"/>
            <a:lstStyle/>
            <a:p>
              <a:endParaRPr lang="de-DE"/>
            </a:p>
          </p:txBody>
        </p:sp>
      </p:grpSp>
      <p:sp>
        <p:nvSpPr>
          <p:cNvPr id="43" name="Fußzeilenplatzhalter 2">
            <a:extLst>
              <a:ext uri="{FF2B5EF4-FFF2-40B4-BE49-F238E27FC236}">
                <a16:creationId xmlns:a16="http://schemas.microsoft.com/office/drawing/2014/main" id="{926D02BF-A95C-4174-9ABE-09AE6438DD4D}"/>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Tree>
    <p:extLst>
      <p:ext uri="{BB962C8B-B14F-4D97-AF65-F5344CB8AC3E}">
        <p14:creationId xmlns:p14="http://schemas.microsoft.com/office/powerpoint/2010/main" val="2559690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3618611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479424" y="1775816"/>
            <a:ext cx="5376672"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Content Placeholder 24">
            <a:extLst>
              <a:ext uri="{FF2B5EF4-FFF2-40B4-BE49-F238E27FC236}">
                <a16:creationId xmlns:a16="http://schemas.microsoft.com/office/drawing/2014/main" id="{CDE420A3-EB03-49EA-92D1-AFB5D0685BA9}"/>
              </a:ext>
            </a:extLst>
          </p:cNvPr>
          <p:cNvSpPr>
            <a:spLocks noGrp="1"/>
          </p:cNvSpPr>
          <p:nvPr>
            <p:ph sz="quarter" idx="18"/>
          </p:nvPr>
        </p:nvSpPr>
        <p:spPr>
          <a:xfrm>
            <a:off x="6335902" y="1775816"/>
            <a:ext cx="5376672"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Fußzeilenplatzhalter 2">
            <a:extLst>
              <a:ext uri="{FF2B5EF4-FFF2-40B4-BE49-F238E27FC236}">
                <a16:creationId xmlns:a16="http://schemas.microsoft.com/office/drawing/2014/main" id="{302F7CF9-3808-4FAC-A2AD-857FB49C2499}"/>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2" name="Titelplatzhalter 1">
            <a:extLst>
              <a:ext uri="{FF2B5EF4-FFF2-40B4-BE49-F238E27FC236}">
                <a16:creationId xmlns:a16="http://schemas.microsoft.com/office/drawing/2014/main" id="{E82849BF-9627-4B9D-B45F-DF9EA00C65F9}"/>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3" name="Datumsplatzhalter 3">
            <a:extLst>
              <a:ext uri="{FF2B5EF4-FFF2-40B4-BE49-F238E27FC236}">
                <a16:creationId xmlns:a16="http://schemas.microsoft.com/office/drawing/2014/main" id="{F2806182-4EEB-4C2E-B2F2-9B23F87953F4}"/>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1539447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1395026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479424" y="1775816"/>
            <a:ext cx="3429000"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Content Placeholder 24">
            <a:extLst>
              <a:ext uri="{FF2B5EF4-FFF2-40B4-BE49-F238E27FC236}">
                <a16:creationId xmlns:a16="http://schemas.microsoft.com/office/drawing/2014/main" id="{6BE4A926-AC5D-49C3-9830-7F085AE6235B}"/>
              </a:ext>
            </a:extLst>
          </p:cNvPr>
          <p:cNvSpPr>
            <a:spLocks noGrp="1"/>
          </p:cNvSpPr>
          <p:nvPr>
            <p:ph sz="quarter" idx="18"/>
          </p:nvPr>
        </p:nvSpPr>
        <p:spPr>
          <a:xfrm>
            <a:off x="4381498" y="1775816"/>
            <a:ext cx="3429000"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Content Placeholder 24">
            <a:extLst>
              <a:ext uri="{FF2B5EF4-FFF2-40B4-BE49-F238E27FC236}">
                <a16:creationId xmlns:a16="http://schemas.microsoft.com/office/drawing/2014/main" id="{9465C315-DE63-4BE4-B773-D3D21AE0B92D}"/>
              </a:ext>
            </a:extLst>
          </p:cNvPr>
          <p:cNvSpPr>
            <a:spLocks noGrp="1"/>
          </p:cNvSpPr>
          <p:nvPr>
            <p:ph sz="quarter" idx="19"/>
          </p:nvPr>
        </p:nvSpPr>
        <p:spPr>
          <a:xfrm>
            <a:off x="8283574" y="1775816"/>
            <a:ext cx="3429000"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Fußzeilenplatzhalter 2">
            <a:extLst>
              <a:ext uri="{FF2B5EF4-FFF2-40B4-BE49-F238E27FC236}">
                <a16:creationId xmlns:a16="http://schemas.microsoft.com/office/drawing/2014/main" id="{79976EBA-0A92-4606-99D0-F0AC6AA9649D}"/>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6" name="Titelplatzhalter 1">
            <a:extLst>
              <a:ext uri="{FF2B5EF4-FFF2-40B4-BE49-F238E27FC236}">
                <a16:creationId xmlns:a16="http://schemas.microsoft.com/office/drawing/2014/main" id="{1233CE2D-A1B7-4CB1-A9D0-F8338F5B19B8}"/>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7" name="Datumsplatzhalter 3">
            <a:extLst>
              <a:ext uri="{FF2B5EF4-FFF2-40B4-BE49-F238E27FC236}">
                <a16:creationId xmlns:a16="http://schemas.microsoft.com/office/drawing/2014/main" id="{854696B2-0D2E-470D-A7DC-A5B6E072834D}"/>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3879959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189372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479424" y="1775816"/>
            <a:ext cx="5376672" cy="2057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Content Placeholder 24">
            <a:extLst>
              <a:ext uri="{FF2B5EF4-FFF2-40B4-BE49-F238E27FC236}">
                <a16:creationId xmlns:a16="http://schemas.microsoft.com/office/drawing/2014/main" id="{771179E9-2FFE-4B62-BED1-283D5D0E3D90}"/>
              </a:ext>
            </a:extLst>
          </p:cNvPr>
          <p:cNvSpPr>
            <a:spLocks noGrp="1"/>
          </p:cNvSpPr>
          <p:nvPr>
            <p:ph sz="quarter" idx="19"/>
          </p:nvPr>
        </p:nvSpPr>
        <p:spPr>
          <a:xfrm>
            <a:off x="479424" y="4226408"/>
            <a:ext cx="5376672" cy="2057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Content Placeholder 24">
            <a:extLst>
              <a:ext uri="{FF2B5EF4-FFF2-40B4-BE49-F238E27FC236}">
                <a16:creationId xmlns:a16="http://schemas.microsoft.com/office/drawing/2014/main" id="{0DE5EC1E-5F7C-4A11-AF53-5D6E651261C2}"/>
              </a:ext>
            </a:extLst>
          </p:cNvPr>
          <p:cNvSpPr>
            <a:spLocks noGrp="1"/>
          </p:cNvSpPr>
          <p:nvPr>
            <p:ph sz="quarter" idx="20"/>
          </p:nvPr>
        </p:nvSpPr>
        <p:spPr>
          <a:xfrm>
            <a:off x="6335902" y="1775816"/>
            <a:ext cx="5376672" cy="2057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Content Placeholder 24">
            <a:extLst>
              <a:ext uri="{FF2B5EF4-FFF2-40B4-BE49-F238E27FC236}">
                <a16:creationId xmlns:a16="http://schemas.microsoft.com/office/drawing/2014/main" id="{A779FED6-9D90-48D0-81EE-BE1C812B2B29}"/>
              </a:ext>
            </a:extLst>
          </p:cNvPr>
          <p:cNvSpPr>
            <a:spLocks noGrp="1"/>
          </p:cNvSpPr>
          <p:nvPr>
            <p:ph sz="quarter" idx="21"/>
          </p:nvPr>
        </p:nvSpPr>
        <p:spPr>
          <a:xfrm>
            <a:off x="6335902" y="4226408"/>
            <a:ext cx="5376672" cy="2057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Fußzeilenplatzhalter 2">
            <a:extLst>
              <a:ext uri="{FF2B5EF4-FFF2-40B4-BE49-F238E27FC236}">
                <a16:creationId xmlns:a16="http://schemas.microsoft.com/office/drawing/2014/main" id="{2F64DA2F-BCE5-4C99-B2FC-71E06333BF9F}"/>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4" name="Titelplatzhalter 1">
            <a:extLst>
              <a:ext uri="{FF2B5EF4-FFF2-40B4-BE49-F238E27FC236}">
                <a16:creationId xmlns:a16="http://schemas.microsoft.com/office/drawing/2014/main" id="{C828139E-1907-4C63-AA91-1348A02A0D2B}"/>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5" name="Datumsplatzhalter 3">
            <a:extLst>
              <a:ext uri="{FF2B5EF4-FFF2-40B4-BE49-F238E27FC236}">
                <a16:creationId xmlns:a16="http://schemas.microsoft.com/office/drawing/2014/main" id="{5D0DA113-FF90-4F68-B612-2E05E836C758}"/>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39722512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rginalie rech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86290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479424" y="1775816"/>
            <a:ext cx="8193024"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Content Placeholder 24">
            <a:extLst>
              <a:ext uri="{FF2B5EF4-FFF2-40B4-BE49-F238E27FC236}">
                <a16:creationId xmlns:a16="http://schemas.microsoft.com/office/drawing/2014/main" id="{CDE420A3-EB03-49EA-92D1-AFB5D0685BA9}"/>
              </a:ext>
            </a:extLst>
          </p:cNvPr>
          <p:cNvSpPr>
            <a:spLocks noGrp="1"/>
          </p:cNvSpPr>
          <p:nvPr>
            <p:ph sz="quarter" idx="18"/>
          </p:nvPr>
        </p:nvSpPr>
        <p:spPr>
          <a:xfrm>
            <a:off x="9152254" y="1775816"/>
            <a:ext cx="2560320" cy="4507992"/>
          </a:xfrm>
          <a:solidFill>
            <a:schemeClr val="accent2"/>
          </a:solidFill>
        </p:spPr>
        <p:txBody>
          <a:bodyPr lIns="91440" tIns="91440" rIns="91440" bIns="9144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Fußzeilenplatzhalter 2">
            <a:extLst>
              <a:ext uri="{FF2B5EF4-FFF2-40B4-BE49-F238E27FC236}">
                <a16:creationId xmlns:a16="http://schemas.microsoft.com/office/drawing/2014/main" id="{475450F1-1435-4FD8-ADA9-BDD59E6E9C7C}"/>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2" name="Titelplatzhalter 1">
            <a:extLst>
              <a:ext uri="{FF2B5EF4-FFF2-40B4-BE49-F238E27FC236}">
                <a16:creationId xmlns:a16="http://schemas.microsoft.com/office/drawing/2014/main" id="{A2B98CAE-6616-45BA-89B1-499348B17750}"/>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3" name="Datumsplatzhalter 3">
            <a:extLst>
              <a:ext uri="{FF2B5EF4-FFF2-40B4-BE49-F238E27FC236}">
                <a16:creationId xmlns:a16="http://schemas.microsoft.com/office/drawing/2014/main" id="{A3A4E501-F505-40CB-B6EB-F46395A299A8}"/>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1212202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rginalie link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55813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25" name="Content Placeholder 24">
            <a:extLst>
              <a:ext uri="{FF2B5EF4-FFF2-40B4-BE49-F238E27FC236}">
                <a16:creationId xmlns:a16="http://schemas.microsoft.com/office/drawing/2014/main" id="{37A2152B-E3B7-40B3-890F-10D4484D682A}"/>
              </a:ext>
            </a:extLst>
          </p:cNvPr>
          <p:cNvSpPr>
            <a:spLocks noGrp="1"/>
          </p:cNvSpPr>
          <p:nvPr>
            <p:ph sz="quarter" idx="17"/>
          </p:nvPr>
        </p:nvSpPr>
        <p:spPr>
          <a:xfrm>
            <a:off x="3519550" y="1775816"/>
            <a:ext cx="8193024" cy="450799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Content Placeholder 24">
            <a:extLst>
              <a:ext uri="{FF2B5EF4-FFF2-40B4-BE49-F238E27FC236}">
                <a16:creationId xmlns:a16="http://schemas.microsoft.com/office/drawing/2014/main" id="{CDE420A3-EB03-49EA-92D1-AFB5D0685BA9}"/>
              </a:ext>
            </a:extLst>
          </p:cNvPr>
          <p:cNvSpPr>
            <a:spLocks noGrp="1"/>
          </p:cNvSpPr>
          <p:nvPr>
            <p:ph sz="quarter" idx="18"/>
          </p:nvPr>
        </p:nvSpPr>
        <p:spPr>
          <a:xfrm>
            <a:off x="479424" y="1775816"/>
            <a:ext cx="2560320" cy="4507992"/>
          </a:xfrm>
          <a:solidFill>
            <a:schemeClr val="accent2"/>
          </a:solidFill>
        </p:spPr>
        <p:txBody>
          <a:bodyPr lIns="91440" tIns="91440" rIns="91440" bIns="9144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Fußzeilenplatzhalter 2">
            <a:extLst>
              <a:ext uri="{FF2B5EF4-FFF2-40B4-BE49-F238E27FC236}">
                <a16:creationId xmlns:a16="http://schemas.microsoft.com/office/drawing/2014/main" id="{EB9185CA-DE49-4CC0-A3E2-8B0BBF76B670}"/>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2" name="Titelplatzhalter 1">
            <a:extLst>
              <a:ext uri="{FF2B5EF4-FFF2-40B4-BE49-F238E27FC236}">
                <a16:creationId xmlns:a16="http://schemas.microsoft.com/office/drawing/2014/main" id="{2638C495-AEA3-4F09-8D22-63F2D3CBE785}"/>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3" name="Datumsplatzhalter 3">
            <a:extLst>
              <a:ext uri="{FF2B5EF4-FFF2-40B4-BE49-F238E27FC236}">
                <a16:creationId xmlns:a16="http://schemas.microsoft.com/office/drawing/2014/main" id="{A9CCBDEA-032B-4490-AE93-10D547C9B772}"/>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773355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5C9B0-1B07-4EBC-906A-D849907DEDC2}"/>
              </a:ext>
            </a:extLst>
          </p:cNvPr>
          <p:cNvGraphicFramePr>
            <a:graphicFrameLocks noChangeAspect="1"/>
          </p:cNvGraphicFramePr>
          <p:nvPr>
            <p:custDataLst>
              <p:tags r:id="rId1"/>
            </p:custDataLst>
            <p:extLst>
              <p:ext uri="{D42A27DB-BD31-4B8C-83A1-F6EECF244321}">
                <p14:modId xmlns:p14="http://schemas.microsoft.com/office/powerpoint/2010/main" val="257461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1FD5C9B0-1B07-4EBC-906A-D849907DE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F9098E-7D0E-4766-9BC5-644ACA3F13E5}"/>
              </a:ext>
            </a:extLst>
          </p:cNvPr>
          <p:cNvSpPr/>
          <p:nvPr>
            <p:custDataLst>
              <p:tags r:id="rId2"/>
            </p:custDataLst>
          </p:nvPr>
        </p:nvSpPr>
        <p:spPr>
          <a:xfrm>
            <a:off x="0" y="0"/>
            <a:ext cx="158750" cy="15875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err="1">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4" name="Slide Number Placeholder 3">
            <a:extLst>
              <a:ext uri="{FF2B5EF4-FFF2-40B4-BE49-F238E27FC236}">
                <a16:creationId xmlns:a16="http://schemas.microsoft.com/office/drawing/2014/main" id="{234E8994-30E7-42C9-8B97-D389F537197A}"/>
              </a:ext>
            </a:extLst>
          </p:cNvPr>
          <p:cNvSpPr>
            <a:spLocks noGrp="1"/>
          </p:cNvSpPr>
          <p:nvPr>
            <p:ph type="sldNum" sz="quarter" idx="11"/>
          </p:nvPr>
        </p:nvSpPr>
        <p:spPr>
          <a:xfrm>
            <a:off x="11555481" y="6602770"/>
            <a:ext cx="157094" cy="153888"/>
          </a:xfrm>
          <a:prstGeom prst="rect">
            <a:avLst/>
          </a:prstGeom>
        </p:spPr>
        <p:txBody>
          <a:bodyPr/>
          <a:lstStyle>
            <a:lvl1pPr algn="r">
              <a:defRPr/>
            </a:lvl1pPr>
          </a:lstStyle>
          <a:p>
            <a:fld id="{C50CBA42-791E-4851-9FB4-39A223136DC3}" type="slidenum">
              <a:rPr lang="de-DE" smtClean="0"/>
              <a:t>‹#›</a:t>
            </a:fld>
            <a:endParaRPr lang="de-DE"/>
          </a:p>
        </p:txBody>
      </p:sp>
      <p:sp>
        <p:nvSpPr>
          <p:cNvPr id="5" name="Textplatzhalter 14">
            <a:extLst>
              <a:ext uri="{FF2B5EF4-FFF2-40B4-BE49-F238E27FC236}">
                <a16:creationId xmlns:a16="http://schemas.microsoft.com/office/drawing/2014/main" id="{BB8EC43E-B232-4253-AFDF-4EF8A3B5B7F1}"/>
              </a:ext>
            </a:extLst>
          </p:cNvPr>
          <p:cNvSpPr>
            <a:spLocks noGrp="1"/>
          </p:cNvSpPr>
          <p:nvPr>
            <p:ph type="body" sz="quarter" idx="15" hasCustomPrompt="1"/>
          </p:nvPr>
        </p:nvSpPr>
        <p:spPr>
          <a:xfrm>
            <a:off x="479424" y="340366"/>
            <a:ext cx="9509760" cy="246221"/>
          </a:xfrm>
          <a:prstGeom prst="rect">
            <a:avLst/>
          </a:prstGeom>
        </p:spPr>
        <p:txBody>
          <a:bodyPr wrap="square" lIns="0" tIns="0" rIns="0" bIns="0" anchor="b" anchorCtr="0">
            <a:spAutoFit/>
          </a:bodyPr>
          <a:lstStyle>
            <a:lvl1pPr marL="0" indent="0">
              <a:lnSpc>
                <a:spcPct val="100000"/>
              </a:lnSpc>
              <a:spcBef>
                <a:spcPts val="0"/>
              </a:spcBef>
              <a:spcAft>
                <a:spcPts val="0"/>
              </a:spcAft>
              <a:buNone/>
              <a:defRPr sz="1600" b="0" cap="all" baseline="0">
                <a:solidFill>
                  <a:schemeClr val="accent4"/>
                </a:solidFill>
              </a:defRPr>
            </a:lvl1pPr>
          </a:lstStyle>
          <a:p>
            <a:pPr lvl="0"/>
            <a:r>
              <a:rPr lang="de-DE" dirty="0"/>
              <a:t>Kapitelüberschrift eingeben</a:t>
            </a:r>
          </a:p>
        </p:txBody>
      </p:sp>
      <p:sp>
        <p:nvSpPr>
          <p:cNvPr id="6" name="Rechteck 10">
            <a:extLst>
              <a:ext uri="{FF2B5EF4-FFF2-40B4-BE49-F238E27FC236}">
                <a16:creationId xmlns:a16="http://schemas.microsoft.com/office/drawing/2014/main" id="{0793E5D5-7A0C-44D1-BCF2-47025FABAC1B}"/>
              </a:ext>
            </a:extLst>
          </p:cNvPr>
          <p:cNvSpPr/>
          <p:nvPr/>
        </p:nvSpPr>
        <p:spPr>
          <a:xfrm>
            <a:off x="479424" y="641066"/>
            <a:ext cx="684000" cy="36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p>
        </p:txBody>
      </p:sp>
      <p:sp>
        <p:nvSpPr>
          <p:cNvPr id="11" name="Fußzeilenplatzhalter 2">
            <a:extLst>
              <a:ext uri="{FF2B5EF4-FFF2-40B4-BE49-F238E27FC236}">
                <a16:creationId xmlns:a16="http://schemas.microsoft.com/office/drawing/2014/main" id="{0C8E0433-F1B2-45B9-B982-C12250ECA580}"/>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a:t>Senacor Technologies AG</a:t>
            </a:r>
          </a:p>
        </p:txBody>
      </p:sp>
      <p:sp>
        <p:nvSpPr>
          <p:cNvPr id="12" name="Titelplatzhalter 1">
            <a:extLst>
              <a:ext uri="{FF2B5EF4-FFF2-40B4-BE49-F238E27FC236}">
                <a16:creationId xmlns:a16="http://schemas.microsoft.com/office/drawing/2014/main" id="{0144F55D-B2AB-4147-864A-90D8928AE2AE}"/>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13" name="Datumsplatzhalter 3">
            <a:extLst>
              <a:ext uri="{FF2B5EF4-FFF2-40B4-BE49-F238E27FC236}">
                <a16:creationId xmlns:a16="http://schemas.microsoft.com/office/drawing/2014/main" id="{DD905C45-0524-4C07-8F44-0BAAF9E8CBBA}"/>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098329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3844891-8C1B-4E02-AD45-17416960A509}"/>
              </a:ext>
            </a:extLst>
          </p:cNvPr>
          <p:cNvGraphicFramePr>
            <a:graphicFrameLocks noChangeAspect="1"/>
          </p:cNvGraphicFramePr>
          <p:nvPr>
            <p:custDataLst>
              <p:tags r:id="rId13"/>
            </p:custDataLst>
            <p:extLst>
              <p:ext uri="{D42A27DB-BD31-4B8C-83A1-F6EECF244321}">
                <p14:modId xmlns:p14="http://schemas.microsoft.com/office/powerpoint/2010/main" val="1231967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kt 7" hidden="1">
                        <a:extLst>
                          <a:ext uri="{FF2B5EF4-FFF2-40B4-BE49-F238E27FC236}">
                            <a16:creationId xmlns:a16="http://schemas.microsoft.com/office/drawing/2014/main" id="{33844891-8C1B-4E02-AD45-17416960A5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95B9F01-70CA-4D9D-8A9C-96F608CE0098}"/>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1" i="0" baseline="0" dirty="0">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2" name="Titelplatzhalter 1">
            <a:extLst>
              <a:ext uri="{FF2B5EF4-FFF2-40B4-BE49-F238E27FC236}">
                <a16:creationId xmlns:a16="http://schemas.microsoft.com/office/drawing/2014/main" id="{D1DBD1DE-18F5-426C-9C49-F77C7A226D55}"/>
              </a:ext>
            </a:extLst>
          </p:cNvPr>
          <p:cNvSpPr>
            <a:spLocks noGrp="1"/>
          </p:cNvSpPr>
          <p:nvPr>
            <p:ph type="title"/>
          </p:nvPr>
        </p:nvSpPr>
        <p:spPr>
          <a:xfrm>
            <a:off x="479425" y="789413"/>
            <a:ext cx="11233150" cy="609398"/>
          </a:xfrm>
          <a:prstGeom prst="rect">
            <a:avLst/>
          </a:prstGeom>
        </p:spPr>
        <p:txBody>
          <a:bodyPr vert="horz" wrap="square" lIns="0" tIns="0" rIns="0" bIns="0" rtlCol="0" anchor="t" anchorCtr="0">
            <a:noAutofit/>
          </a:bodyPr>
          <a:lstStyle/>
          <a:p>
            <a:r>
              <a:rPr lang="de-DE" noProof="0" dirty="0"/>
              <a:t>Mastertitelformat bearbeiten</a:t>
            </a:r>
          </a:p>
        </p:txBody>
      </p:sp>
      <p:sp>
        <p:nvSpPr>
          <p:cNvPr id="4" name="Datumsplatzhalter 3">
            <a:extLst>
              <a:ext uri="{FF2B5EF4-FFF2-40B4-BE49-F238E27FC236}">
                <a16:creationId xmlns:a16="http://schemas.microsoft.com/office/drawing/2014/main" id="{2F398098-3156-4E50-8376-5CE946BFEE18}"/>
              </a:ext>
            </a:extLst>
          </p:cNvPr>
          <p:cNvSpPr>
            <a:spLocks noGrp="1"/>
          </p:cNvSpPr>
          <p:nvPr>
            <p:ph type="dt" sz="half" idx="2"/>
          </p:nvPr>
        </p:nvSpPr>
        <p:spPr>
          <a:xfrm>
            <a:off x="9182100" y="6602770"/>
            <a:ext cx="1250121" cy="153888"/>
          </a:xfrm>
          <a:prstGeom prst="rect">
            <a:avLst/>
          </a:prstGeom>
        </p:spPr>
        <p:txBody>
          <a:bodyPr vert="horz" wrap="square" lIns="0" tIns="0" rIns="0" bIns="0" rtlCol="0" anchor="b">
            <a:spAutoFit/>
          </a:bodyPr>
          <a:lstStyle>
            <a:lvl1pPr algn="r">
              <a:defRPr sz="1000">
                <a:solidFill>
                  <a:schemeClr val="tx2"/>
                </a:solidFill>
              </a:defRPr>
            </a:lvl1pPr>
          </a:lstStyle>
          <a:p>
            <a:fld id="{62617C13-86F7-470E-8828-65CC1372C3B0}" type="datetime4">
              <a:rPr lang="de-DE" smtClean="0"/>
              <a:t>29. November 2022</a:t>
            </a:fld>
            <a:endParaRPr lang="de-DE" dirty="0"/>
          </a:p>
        </p:txBody>
      </p:sp>
      <p:sp>
        <p:nvSpPr>
          <p:cNvPr id="6" name="Foliennummernplatzhalter 5">
            <a:extLst>
              <a:ext uri="{FF2B5EF4-FFF2-40B4-BE49-F238E27FC236}">
                <a16:creationId xmlns:a16="http://schemas.microsoft.com/office/drawing/2014/main" id="{D1D8664A-09DF-4842-9741-FCBC975648E2}"/>
              </a:ext>
            </a:extLst>
          </p:cNvPr>
          <p:cNvSpPr>
            <a:spLocks noGrp="1"/>
          </p:cNvSpPr>
          <p:nvPr>
            <p:ph type="sldNum" sz="quarter" idx="4"/>
          </p:nvPr>
        </p:nvSpPr>
        <p:spPr>
          <a:xfrm>
            <a:off x="11555481" y="6602770"/>
            <a:ext cx="157094" cy="153888"/>
          </a:xfrm>
          <a:prstGeom prst="rect">
            <a:avLst/>
          </a:prstGeom>
        </p:spPr>
        <p:txBody>
          <a:bodyPr vert="horz" wrap="none" lIns="0" tIns="0" rIns="0" bIns="0" rtlCol="0" anchor="b">
            <a:spAutoFit/>
          </a:bodyPr>
          <a:lstStyle>
            <a:lvl1pPr algn="r">
              <a:defRPr sz="1000">
                <a:solidFill>
                  <a:schemeClr val="tx2"/>
                </a:solidFill>
              </a:defRPr>
            </a:lvl1pPr>
          </a:lstStyle>
          <a:p>
            <a:fld id="{C50CBA42-791E-4851-9FB4-39A223136DC3}" type="slidenum">
              <a:rPr lang="de-DE" smtClean="0"/>
              <a:t>‹#›</a:t>
            </a:fld>
            <a:endParaRPr lang="de-DE"/>
          </a:p>
        </p:txBody>
      </p:sp>
      <p:sp>
        <p:nvSpPr>
          <p:cNvPr id="18" name="Text Placeholder 17">
            <a:extLst>
              <a:ext uri="{FF2B5EF4-FFF2-40B4-BE49-F238E27FC236}">
                <a16:creationId xmlns:a16="http://schemas.microsoft.com/office/drawing/2014/main" id="{6DBFF12E-FE65-426B-B950-15D901AE50BB}"/>
              </a:ext>
            </a:extLst>
          </p:cNvPr>
          <p:cNvSpPr>
            <a:spLocks noGrp="1"/>
          </p:cNvSpPr>
          <p:nvPr>
            <p:ph type="body" idx="1"/>
          </p:nvPr>
        </p:nvSpPr>
        <p:spPr>
          <a:xfrm>
            <a:off x="479423" y="1775815"/>
            <a:ext cx="11233150" cy="4510685"/>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a:extLst>
              <a:ext uri="{FF2B5EF4-FFF2-40B4-BE49-F238E27FC236}">
                <a16:creationId xmlns:a16="http://schemas.microsoft.com/office/drawing/2014/main" id="{8BCF952A-07E9-445D-95D0-59EAFD224156}"/>
              </a:ext>
            </a:extLst>
          </p:cNvPr>
          <p:cNvSpPr>
            <a:spLocks noGrp="1"/>
          </p:cNvSpPr>
          <p:nvPr>
            <p:ph type="ftr" sz="quarter" idx="3"/>
          </p:nvPr>
        </p:nvSpPr>
        <p:spPr>
          <a:xfrm flipH="1">
            <a:off x="479423" y="6602770"/>
            <a:ext cx="7246798" cy="153888"/>
          </a:xfrm>
          <a:prstGeom prst="rect">
            <a:avLst/>
          </a:prstGeom>
        </p:spPr>
        <p:txBody>
          <a:bodyPr vert="horz" wrap="square" lIns="0" tIns="0" rIns="0" bIns="0" rtlCol="0" anchor="b">
            <a:spAutoFit/>
          </a:bodyPr>
          <a:lstStyle>
            <a:lvl1pPr>
              <a:defRPr lang="de-DE" sz="1000">
                <a:solidFill>
                  <a:schemeClr val="tx2"/>
                </a:solidFill>
              </a:defRPr>
            </a:lvl1pPr>
          </a:lstStyle>
          <a:p>
            <a:r>
              <a:rPr lang="de-DE" dirty="0"/>
              <a:t>Senacor Technologies AG</a:t>
            </a:r>
          </a:p>
        </p:txBody>
      </p:sp>
      <p:grpSp>
        <p:nvGrpSpPr>
          <p:cNvPr id="29" name="Gruppieren 28">
            <a:extLst>
              <a:ext uri="{FF2B5EF4-FFF2-40B4-BE49-F238E27FC236}">
                <a16:creationId xmlns:a16="http://schemas.microsoft.com/office/drawing/2014/main" id="{52B7F62B-8F90-43D8-9C4B-957A7ED49EC3}"/>
              </a:ext>
            </a:extLst>
          </p:cNvPr>
          <p:cNvGrpSpPr/>
          <p:nvPr userDrawn="1"/>
        </p:nvGrpSpPr>
        <p:grpSpPr>
          <a:xfrm>
            <a:off x="10240056" y="330434"/>
            <a:ext cx="1472671" cy="212964"/>
            <a:chOff x="10240056" y="330434"/>
            <a:chExt cx="1472671" cy="212964"/>
          </a:xfrm>
        </p:grpSpPr>
        <p:sp>
          <p:nvSpPr>
            <p:cNvPr id="12" name="Freihandform: Form 11">
              <a:extLst>
                <a:ext uri="{FF2B5EF4-FFF2-40B4-BE49-F238E27FC236}">
                  <a16:creationId xmlns:a16="http://schemas.microsoft.com/office/drawing/2014/main" id="{E561B6F5-581F-40A2-A8C8-2F2DF8939BE2}"/>
                </a:ext>
              </a:extLst>
            </p:cNvPr>
            <p:cNvSpPr/>
            <p:nvPr/>
          </p:nvSpPr>
          <p:spPr>
            <a:xfrm>
              <a:off x="10602134" y="335724"/>
              <a:ext cx="213948" cy="204724"/>
            </a:xfrm>
            <a:custGeom>
              <a:avLst/>
              <a:gdLst>
                <a:gd name="connsiteX0" fmla="*/ 160491 w 213948"/>
                <a:gd name="connsiteY0" fmla="*/ 14175 h 204724"/>
                <a:gd name="connsiteX1" fmla="*/ 163136 w 213948"/>
                <a:gd name="connsiteY1" fmla="*/ 14327 h 204724"/>
                <a:gd name="connsiteX2" fmla="*/ 176854 w 213948"/>
                <a:gd name="connsiteY2" fmla="*/ 36064 h 204724"/>
                <a:gd name="connsiteX3" fmla="*/ 176854 w 213948"/>
                <a:gd name="connsiteY3" fmla="*/ 144712 h 204724"/>
                <a:gd name="connsiteX4" fmla="*/ 49408 w 213948"/>
                <a:gd name="connsiteY4" fmla="*/ 0 h 204724"/>
                <a:gd name="connsiteX5" fmla="*/ 4834 w 213948"/>
                <a:gd name="connsiteY5" fmla="*/ 0 h 204724"/>
                <a:gd name="connsiteX6" fmla="*/ 4834 w 213948"/>
                <a:gd name="connsiteY6" fmla="*/ 13894 h 204724"/>
                <a:gd name="connsiteX7" fmla="*/ 7292 w 213948"/>
                <a:gd name="connsiteY7" fmla="*/ 14140 h 204724"/>
                <a:gd name="connsiteX8" fmla="*/ 16727 w 213948"/>
                <a:gd name="connsiteY8" fmla="*/ 21163 h 204724"/>
                <a:gd name="connsiteX9" fmla="*/ 16727 w 213948"/>
                <a:gd name="connsiteY9" fmla="*/ 164821 h 204724"/>
                <a:gd name="connsiteX10" fmla="*/ 2681 w 213948"/>
                <a:gd name="connsiteY10" fmla="*/ 188372 h 204724"/>
                <a:gd name="connsiteX11" fmla="*/ 0 w 213948"/>
                <a:gd name="connsiteY11" fmla="*/ 188513 h 204724"/>
                <a:gd name="connsiteX12" fmla="*/ 0 w 213948"/>
                <a:gd name="connsiteY12" fmla="*/ 202559 h 204724"/>
                <a:gd name="connsiteX13" fmla="*/ 54523 w 213948"/>
                <a:gd name="connsiteY13" fmla="*/ 202559 h 204724"/>
                <a:gd name="connsiteX14" fmla="*/ 54523 w 213948"/>
                <a:gd name="connsiteY14" fmla="*/ 188665 h 204724"/>
                <a:gd name="connsiteX15" fmla="*/ 51936 w 213948"/>
                <a:gd name="connsiteY15" fmla="*/ 188466 h 204724"/>
                <a:gd name="connsiteX16" fmla="*/ 38580 w 213948"/>
                <a:gd name="connsiteY16" fmla="*/ 162457 h 204724"/>
                <a:gd name="connsiteX17" fmla="*/ 38580 w 213948"/>
                <a:gd name="connsiteY17" fmla="*/ 46048 h 204724"/>
                <a:gd name="connsiteX18" fmla="*/ 177873 w 213948"/>
                <a:gd name="connsiteY18" fmla="*/ 203776 h 204724"/>
                <a:gd name="connsiteX19" fmla="*/ 178716 w 213948"/>
                <a:gd name="connsiteY19" fmla="*/ 204724 h 204724"/>
                <a:gd name="connsiteX20" fmla="*/ 198708 w 213948"/>
                <a:gd name="connsiteY20" fmla="*/ 204724 h 204724"/>
                <a:gd name="connsiteX21" fmla="*/ 198708 w 213948"/>
                <a:gd name="connsiteY21" fmla="*/ 39271 h 204724"/>
                <a:gd name="connsiteX22" fmla="*/ 211373 w 213948"/>
                <a:gd name="connsiteY22" fmla="*/ 14421 h 204724"/>
                <a:gd name="connsiteX23" fmla="*/ 213948 w 213948"/>
                <a:gd name="connsiteY23" fmla="*/ 14198 h 204724"/>
                <a:gd name="connsiteX24" fmla="*/ 213948 w 213948"/>
                <a:gd name="connsiteY24" fmla="*/ 0 h 204724"/>
                <a:gd name="connsiteX25" fmla="*/ 160491 w 213948"/>
                <a:gd name="connsiteY25" fmla="*/ 0 h 20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3948" h="204724">
                  <a:moveTo>
                    <a:pt x="160491" y="14175"/>
                  </a:moveTo>
                  <a:lnTo>
                    <a:pt x="163136" y="14327"/>
                  </a:lnTo>
                  <a:cubicBezTo>
                    <a:pt x="176878" y="15111"/>
                    <a:pt x="176878" y="17909"/>
                    <a:pt x="176854" y="36064"/>
                  </a:cubicBezTo>
                  <a:lnTo>
                    <a:pt x="176854" y="144712"/>
                  </a:lnTo>
                  <a:lnTo>
                    <a:pt x="49408" y="0"/>
                  </a:lnTo>
                  <a:lnTo>
                    <a:pt x="4834" y="0"/>
                  </a:lnTo>
                  <a:lnTo>
                    <a:pt x="4834" y="13894"/>
                  </a:lnTo>
                  <a:lnTo>
                    <a:pt x="7292" y="14140"/>
                  </a:lnTo>
                  <a:cubicBezTo>
                    <a:pt x="14655" y="14643"/>
                    <a:pt x="16586" y="17101"/>
                    <a:pt x="16727" y="21163"/>
                  </a:cubicBezTo>
                  <a:lnTo>
                    <a:pt x="16727" y="164821"/>
                  </a:lnTo>
                  <a:cubicBezTo>
                    <a:pt x="16727" y="182882"/>
                    <a:pt x="16727" y="187728"/>
                    <a:pt x="2681" y="188372"/>
                  </a:cubicBezTo>
                  <a:lnTo>
                    <a:pt x="0" y="188513"/>
                  </a:lnTo>
                  <a:lnTo>
                    <a:pt x="0" y="202559"/>
                  </a:lnTo>
                  <a:lnTo>
                    <a:pt x="54523" y="202559"/>
                  </a:lnTo>
                  <a:lnTo>
                    <a:pt x="54523" y="188665"/>
                  </a:lnTo>
                  <a:lnTo>
                    <a:pt x="51936" y="188466"/>
                  </a:lnTo>
                  <a:cubicBezTo>
                    <a:pt x="38557" y="187424"/>
                    <a:pt x="38569" y="182145"/>
                    <a:pt x="38580" y="162457"/>
                  </a:cubicBezTo>
                  <a:lnTo>
                    <a:pt x="38580" y="46048"/>
                  </a:lnTo>
                  <a:lnTo>
                    <a:pt x="177873" y="203776"/>
                  </a:lnTo>
                  <a:lnTo>
                    <a:pt x="178716" y="204724"/>
                  </a:lnTo>
                  <a:lnTo>
                    <a:pt x="198708" y="204724"/>
                  </a:lnTo>
                  <a:lnTo>
                    <a:pt x="198708" y="39271"/>
                  </a:lnTo>
                  <a:cubicBezTo>
                    <a:pt x="198708" y="19080"/>
                    <a:pt x="199797" y="15521"/>
                    <a:pt x="211373" y="14421"/>
                  </a:cubicBezTo>
                  <a:lnTo>
                    <a:pt x="213948" y="14198"/>
                  </a:lnTo>
                  <a:lnTo>
                    <a:pt x="213948" y="0"/>
                  </a:lnTo>
                  <a:lnTo>
                    <a:pt x="160491" y="0"/>
                  </a:lnTo>
                  <a:close/>
                </a:path>
              </a:pathLst>
            </a:custGeom>
            <a:solidFill>
              <a:srgbClr val="000000"/>
            </a:solidFill>
            <a:ln w="1166"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0F7C4E8C-A527-47C2-AA6E-06D399421086}"/>
                </a:ext>
              </a:extLst>
            </p:cNvPr>
            <p:cNvSpPr/>
            <p:nvPr/>
          </p:nvSpPr>
          <p:spPr>
            <a:xfrm>
              <a:off x="10240056" y="330434"/>
              <a:ext cx="150166" cy="212964"/>
            </a:xfrm>
            <a:custGeom>
              <a:avLst/>
              <a:gdLst>
                <a:gd name="connsiteX0" fmla="*/ 87918 w 150166"/>
                <a:gd name="connsiteY0" fmla="*/ 86267 h 212964"/>
                <a:gd name="connsiteX1" fmla="*/ 87918 w 150166"/>
                <a:gd name="connsiteY1" fmla="*/ 86267 h 212964"/>
                <a:gd name="connsiteX2" fmla="*/ 43309 w 150166"/>
                <a:gd name="connsiteY2" fmla="*/ 46282 h 212964"/>
                <a:gd name="connsiteX3" fmla="*/ 73427 w 150166"/>
                <a:gd name="connsiteY3" fmla="*/ 17078 h 212964"/>
                <a:gd name="connsiteX4" fmla="*/ 120248 w 150166"/>
                <a:gd name="connsiteY4" fmla="*/ 39739 h 212964"/>
                <a:gd name="connsiteX5" fmla="*/ 121032 w 150166"/>
                <a:gd name="connsiteY5" fmla="*/ 41331 h 212964"/>
                <a:gd name="connsiteX6" fmla="*/ 136109 w 150166"/>
                <a:gd name="connsiteY6" fmla="*/ 41167 h 212964"/>
                <a:gd name="connsiteX7" fmla="*/ 129589 w 150166"/>
                <a:gd name="connsiteY7" fmla="*/ 3078 h 212964"/>
                <a:gd name="connsiteX8" fmla="*/ 120026 w 150166"/>
                <a:gd name="connsiteY8" fmla="*/ 3078 h 212964"/>
                <a:gd name="connsiteX9" fmla="*/ 118551 w 150166"/>
                <a:gd name="connsiteY9" fmla="*/ 3746 h 212964"/>
                <a:gd name="connsiteX10" fmla="*/ 110977 w 150166"/>
                <a:gd name="connsiteY10" fmla="*/ 5384 h 212964"/>
                <a:gd name="connsiteX11" fmla="*/ 101438 w 150166"/>
                <a:gd name="connsiteY11" fmla="*/ 3804 h 212964"/>
                <a:gd name="connsiteX12" fmla="*/ 95807 w 150166"/>
                <a:gd name="connsiteY12" fmla="*/ 2634 h 212964"/>
                <a:gd name="connsiteX13" fmla="*/ 69412 w 150166"/>
                <a:gd name="connsiteY13" fmla="*/ 0 h 212964"/>
                <a:gd name="connsiteX14" fmla="*/ 5103 w 150166"/>
                <a:gd name="connsiteY14" fmla="*/ 55096 h 212964"/>
                <a:gd name="connsiteX15" fmla="*/ 63817 w 150166"/>
                <a:gd name="connsiteY15" fmla="*/ 117415 h 212964"/>
                <a:gd name="connsiteX16" fmla="*/ 110966 w 150166"/>
                <a:gd name="connsiteY16" fmla="*/ 162094 h 212964"/>
                <a:gd name="connsiteX17" fmla="*/ 72093 w 150166"/>
                <a:gd name="connsiteY17" fmla="*/ 193944 h 212964"/>
                <a:gd name="connsiteX18" fmla="*/ 15030 w 150166"/>
                <a:gd name="connsiteY18" fmla="*/ 167174 h 212964"/>
                <a:gd name="connsiteX19" fmla="*/ 14327 w 150166"/>
                <a:gd name="connsiteY19" fmla="*/ 165418 h 212964"/>
                <a:gd name="connsiteX20" fmla="*/ 0 w 150166"/>
                <a:gd name="connsiteY20" fmla="*/ 165418 h 212964"/>
                <a:gd name="connsiteX21" fmla="*/ 6368 w 150166"/>
                <a:gd name="connsiteY21" fmla="*/ 208283 h 212964"/>
                <a:gd name="connsiteX22" fmla="*/ 17932 w 150166"/>
                <a:gd name="connsiteY22" fmla="*/ 208283 h 212964"/>
                <a:gd name="connsiteX23" fmla="*/ 18740 w 150166"/>
                <a:gd name="connsiteY23" fmla="*/ 207510 h 212964"/>
                <a:gd name="connsiteX24" fmla="*/ 25997 w 150166"/>
                <a:gd name="connsiteY24" fmla="*/ 205895 h 212964"/>
                <a:gd name="connsiteX25" fmla="*/ 38393 w 150166"/>
                <a:gd name="connsiteY25" fmla="*/ 208107 h 212964"/>
                <a:gd name="connsiteX26" fmla="*/ 74445 w 150166"/>
                <a:gd name="connsiteY26" fmla="*/ 212965 h 212964"/>
                <a:gd name="connsiteX27" fmla="*/ 150167 w 150166"/>
                <a:gd name="connsiteY27" fmla="*/ 152648 h 212964"/>
                <a:gd name="connsiteX28" fmla="*/ 87930 w 150166"/>
                <a:gd name="connsiteY28" fmla="*/ 86267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0166" h="212964">
                  <a:moveTo>
                    <a:pt x="87918" y="86267"/>
                  </a:moveTo>
                  <a:lnTo>
                    <a:pt x="87918" y="86267"/>
                  </a:lnTo>
                  <a:cubicBezTo>
                    <a:pt x="64976" y="74750"/>
                    <a:pt x="43309" y="63864"/>
                    <a:pt x="43309" y="46282"/>
                  </a:cubicBezTo>
                  <a:cubicBezTo>
                    <a:pt x="43309" y="34507"/>
                    <a:pt x="52884" y="17078"/>
                    <a:pt x="73427" y="17078"/>
                  </a:cubicBezTo>
                  <a:cubicBezTo>
                    <a:pt x="97142" y="17078"/>
                    <a:pt x="111305" y="23574"/>
                    <a:pt x="120248" y="39739"/>
                  </a:cubicBezTo>
                  <a:lnTo>
                    <a:pt x="121032" y="41331"/>
                  </a:lnTo>
                  <a:lnTo>
                    <a:pt x="136109" y="41167"/>
                  </a:lnTo>
                  <a:lnTo>
                    <a:pt x="129589" y="3078"/>
                  </a:lnTo>
                  <a:lnTo>
                    <a:pt x="120026" y="3078"/>
                  </a:lnTo>
                  <a:lnTo>
                    <a:pt x="118551" y="3746"/>
                  </a:lnTo>
                  <a:cubicBezTo>
                    <a:pt x="116205" y="4922"/>
                    <a:pt x="113600" y="5486"/>
                    <a:pt x="110977" y="5384"/>
                  </a:cubicBezTo>
                  <a:cubicBezTo>
                    <a:pt x="106998" y="5232"/>
                    <a:pt x="105242" y="4577"/>
                    <a:pt x="101438" y="3804"/>
                  </a:cubicBezTo>
                  <a:cubicBezTo>
                    <a:pt x="99822" y="3465"/>
                    <a:pt x="98031" y="3008"/>
                    <a:pt x="95807" y="2634"/>
                  </a:cubicBezTo>
                  <a:cubicBezTo>
                    <a:pt x="87117" y="890"/>
                    <a:pt x="78276" y="8"/>
                    <a:pt x="69412" y="0"/>
                  </a:cubicBezTo>
                  <a:cubicBezTo>
                    <a:pt x="33945" y="0"/>
                    <a:pt x="5103" y="24710"/>
                    <a:pt x="5103" y="55096"/>
                  </a:cubicBezTo>
                  <a:cubicBezTo>
                    <a:pt x="5103" y="85846"/>
                    <a:pt x="34952" y="101917"/>
                    <a:pt x="63817" y="117415"/>
                  </a:cubicBezTo>
                  <a:cubicBezTo>
                    <a:pt x="88059" y="130455"/>
                    <a:pt x="110966" y="142804"/>
                    <a:pt x="110966" y="162094"/>
                  </a:cubicBezTo>
                  <a:cubicBezTo>
                    <a:pt x="110966" y="180249"/>
                    <a:pt x="94251" y="193944"/>
                    <a:pt x="72093" y="193944"/>
                  </a:cubicBezTo>
                  <a:cubicBezTo>
                    <a:pt x="41799" y="193944"/>
                    <a:pt x="23130" y="185177"/>
                    <a:pt x="15030" y="167174"/>
                  </a:cubicBezTo>
                  <a:lnTo>
                    <a:pt x="14327" y="165418"/>
                  </a:lnTo>
                  <a:lnTo>
                    <a:pt x="0" y="165418"/>
                  </a:lnTo>
                  <a:lnTo>
                    <a:pt x="6368" y="208283"/>
                  </a:lnTo>
                  <a:lnTo>
                    <a:pt x="17932" y="208283"/>
                  </a:lnTo>
                  <a:lnTo>
                    <a:pt x="18740" y="207510"/>
                  </a:lnTo>
                  <a:cubicBezTo>
                    <a:pt x="20461" y="205965"/>
                    <a:pt x="22603" y="205860"/>
                    <a:pt x="25997" y="205895"/>
                  </a:cubicBezTo>
                  <a:cubicBezTo>
                    <a:pt x="29392" y="205930"/>
                    <a:pt x="33313" y="206878"/>
                    <a:pt x="38393" y="208107"/>
                  </a:cubicBezTo>
                  <a:cubicBezTo>
                    <a:pt x="50154" y="211257"/>
                    <a:pt x="62270" y="212889"/>
                    <a:pt x="74445" y="212965"/>
                  </a:cubicBezTo>
                  <a:cubicBezTo>
                    <a:pt x="118328" y="212965"/>
                    <a:pt x="150167" y="187600"/>
                    <a:pt x="150167" y="152648"/>
                  </a:cubicBezTo>
                  <a:cubicBezTo>
                    <a:pt x="150167" y="117696"/>
                    <a:pt x="117052" y="100922"/>
                    <a:pt x="87930" y="86267"/>
                  </a:cubicBezTo>
                </a:path>
              </a:pathLst>
            </a:custGeom>
            <a:solidFill>
              <a:srgbClr val="000000"/>
            </a:solidFill>
            <a:ln w="1166"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2FA2C46B-B400-4947-986C-BE8E0F44BF74}"/>
                </a:ext>
              </a:extLst>
            </p:cNvPr>
            <p:cNvSpPr/>
            <p:nvPr/>
          </p:nvSpPr>
          <p:spPr>
            <a:xfrm>
              <a:off x="10421346" y="335748"/>
              <a:ext cx="149780" cy="202570"/>
            </a:xfrm>
            <a:custGeom>
              <a:avLst/>
              <a:gdLst>
                <a:gd name="connsiteX0" fmla="*/ 10184 w 149780"/>
                <a:gd name="connsiteY0" fmla="*/ 176725 h 202570"/>
                <a:gd name="connsiteX1" fmla="*/ 2540 w 149780"/>
                <a:gd name="connsiteY1" fmla="*/ 187986 h 202570"/>
                <a:gd name="connsiteX2" fmla="*/ 0 w 149780"/>
                <a:gd name="connsiteY2" fmla="*/ 188232 h 202570"/>
                <a:gd name="connsiteX3" fmla="*/ 0 w 149780"/>
                <a:gd name="connsiteY3" fmla="*/ 202571 h 202570"/>
                <a:gd name="connsiteX4" fmla="*/ 144864 w 149780"/>
                <a:gd name="connsiteY4" fmla="*/ 202571 h 202570"/>
                <a:gd name="connsiteX5" fmla="*/ 149780 w 149780"/>
                <a:gd name="connsiteY5" fmla="*/ 162059 h 202570"/>
                <a:gd name="connsiteX6" fmla="*/ 134563 w 149780"/>
                <a:gd name="connsiteY6" fmla="*/ 162176 h 202570"/>
                <a:gd name="connsiteX7" fmla="*/ 133943 w 149780"/>
                <a:gd name="connsiteY7" fmla="*/ 164107 h 202570"/>
                <a:gd name="connsiteX8" fmla="*/ 101379 w 149780"/>
                <a:gd name="connsiteY8" fmla="*/ 182754 h 202570"/>
                <a:gd name="connsiteX9" fmla="*/ 64192 w 149780"/>
                <a:gd name="connsiteY9" fmla="*/ 182754 h 202570"/>
                <a:gd name="connsiteX10" fmla="*/ 49244 w 149780"/>
                <a:gd name="connsiteY10" fmla="*/ 162749 h 202570"/>
                <a:gd name="connsiteX11" fmla="*/ 49244 w 149780"/>
                <a:gd name="connsiteY11" fmla="*/ 107875 h 202570"/>
                <a:gd name="connsiteX12" fmla="*/ 89042 w 149780"/>
                <a:gd name="connsiteY12" fmla="*/ 107875 h 202570"/>
                <a:gd name="connsiteX13" fmla="*/ 107630 w 149780"/>
                <a:gd name="connsiteY13" fmla="*/ 118878 h 202570"/>
                <a:gd name="connsiteX14" fmla="*/ 108051 w 149780"/>
                <a:gd name="connsiteY14" fmla="*/ 121219 h 202570"/>
                <a:gd name="connsiteX15" fmla="*/ 122542 w 149780"/>
                <a:gd name="connsiteY15" fmla="*/ 121219 h 202570"/>
                <a:gd name="connsiteX16" fmla="*/ 122542 w 149780"/>
                <a:gd name="connsiteY16" fmla="*/ 75569 h 202570"/>
                <a:gd name="connsiteX17" fmla="*/ 108285 w 149780"/>
                <a:gd name="connsiteY17" fmla="*/ 75569 h 202570"/>
                <a:gd name="connsiteX18" fmla="*/ 107934 w 149780"/>
                <a:gd name="connsiteY18" fmla="*/ 77910 h 202570"/>
                <a:gd name="connsiteX19" fmla="*/ 89042 w 149780"/>
                <a:gd name="connsiteY19" fmla="*/ 88105 h 202570"/>
                <a:gd name="connsiteX20" fmla="*/ 49244 w 149780"/>
                <a:gd name="connsiteY20" fmla="*/ 88105 h 202570"/>
                <a:gd name="connsiteX21" fmla="*/ 49244 w 149780"/>
                <a:gd name="connsiteY21" fmla="*/ 19829 h 202570"/>
                <a:gd name="connsiteX22" fmla="*/ 102550 w 149780"/>
                <a:gd name="connsiteY22" fmla="*/ 19829 h 202570"/>
                <a:gd name="connsiteX23" fmla="*/ 124310 w 149780"/>
                <a:gd name="connsiteY23" fmla="*/ 34226 h 202570"/>
                <a:gd name="connsiteX24" fmla="*/ 124883 w 149780"/>
                <a:gd name="connsiteY24" fmla="*/ 36286 h 202570"/>
                <a:gd name="connsiteX25" fmla="*/ 140100 w 149780"/>
                <a:gd name="connsiteY25" fmla="*/ 36286 h 202570"/>
                <a:gd name="connsiteX26" fmla="*/ 137595 w 149780"/>
                <a:gd name="connsiteY26" fmla="*/ 0 h 202570"/>
                <a:gd name="connsiteX27" fmla="*/ 222 w 149780"/>
                <a:gd name="connsiteY27" fmla="*/ 0 h 202570"/>
                <a:gd name="connsiteX28" fmla="*/ 222 w 149780"/>
                <a:gd name="connsiteY28" fmla="*/ 14198 h 202570"/>
                <a:gd name="connsiteX29" fmla="*/ 2798 w 149780"/>
                <a:gd name="connsiteY29" fmla="*/ 14374 h 202570"/>
                <a:gd name="connsiteX30" fmla="*/ 10207 w 149780"/>
                <a:gd name="connsiteY30" fmla="*/ 32412 h 20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780" h="202570">
                  <a:moveTo>
                    <a:pt x="10184" y="176725"/>
                  </a:moveTo>
                  <a:cubicBezTo>
                    <a:pt x="9973" y="184626"/>
                    <a:pt x="9774" y="187260"/>
                    <a:pt x="2540" y="187986"/>
                  </a:cubicBezTo>
                  <a:lnTo>
                    <a:pt x="0" y="188232"/>
                  </a:lnTo>
                  <a:lnTo>
                    <a:pt x="0" y="202571"/>
                  </a:lnTo>
                  <a:lnTo>
                    <a:pt x="144864" y="202571"/>
                  </a:lnTo>
                  <a:lnTo>
                    <a:pt x="149780" y="162059"/>
                  </a:lnTo>
                  <a:lnTo>
                    <a:pt x="134563" y="162176"/>
                  </a:lnTo>
                  <a:lnTo>
                    <a:pt x="133943" y="164107"/>
                  </a:lnTo>
                  <a:cubicBezTo>
                    <a:pt x="127927" y="182964"/>
                    <a:pt x="121734" y="182906"/>
                    <a:pt x="101379" y="182754"/>
                  </a:cubicBezTo>
                  <a:lnTo>
                    <a:pt x="64192" y="182754"/>
                  </a:lnTo>
                  <a:cubicBezTo>
                    <a:pt x="49654" y="182754"/>
                    <a:pt x="49244" y="179909"/>
                    <a:pt x="49244" y="162749"/>
                  </a:cubicBezTo>
                  <a:lnTo>
                    <a:pt x="49244" y="107875"/>
                  </a:lnTo>
                  <a:lnTo>
                    <a:pt x="89042" y="107875"/>
                  </a:lnTo>
                  <a:cubicBezTo>
                    <a:pt x="102292" y="107875"/>
                    <a:pt x="105066" y="108168"/>
                    <a:pt x="107630" y="118878"/>
                  </a:cubicBezTo>
                  <a:lnTo>
                    <a:pt x="108051" y="121219"/>
                  </a:lnTo>
                  <a:lnTo>
                    <a:pt x="122542" y="121219"/>
                  </a:lnTo>
                  <a:lnTo>
                    <a:pt x="122542" y="75569"/>
                  </a:lnTo>
                  <a:lnTo>
                    <a:pt x="108285" y="75569"/>
                  </a:lnTo>
                  <a:lnTo>
                    <a:pt x="107934" y="77910"/>
                  </a:lnTo>
                  <a:cubicBezTo>
                    <a:pt x="106248" y="87368"/>
                    <a:pt x="103158" y="88105"/>
                    <a:pt x="89042" y="88105"/>
                  </a:cubicBezTo>
                  <a:lnTo>
                    <a:pt x="49244" y="88105"/>
                  </a:lnTo>
                  <a:lnTo>
                    <a:pt x="49244" y="19829"/>
                  </a:lnTo>
                  <a:lnTo>
                    <a:pt x="102550" y="19829"/>
                  </a:lnTo>
                  <a:cubicBezTo>
                    <a:pt x="116233" y="19829"/>
                    <a:pt x="120716" y="19829"/>
                    <a:pt x="124310" y="34226"/>
                  </a:cubicBezTo>
                  <a:lnTo>
                    <a:pt x="124883" y="36286"/>
                  </a:lnTo>
                  <a:lnTo>
                    <a:pt x="140100" y="36286"/>
                  </a:lnTo>
                  <a:lnTo>
                    <a:pt x="137595" y="0"/>
                  </a:lnTo>
                  <a:lnTo>
                    <a:pt x="222" y="0"/>
                  </a:lnTo>
                  <a:lnTo>
                    <a:pt x="222" y="14198"/>
                  </a:lnTo>
                  <a:lnTo>
                    <a:pt x="2798" y="14374"/>
                  </a:lnTo>
                  <a:cubicBezTo>
                    <a:pt x="10102" y="15252"/>
                    <a:pt x="10113" y="17886"/>
                    <a:pt x="10207" y="32412"/>
                  </a:cubicBezTo>
                  <a:close/>
                </a:path>
              </a:pathLst>
            </a:custGeom>
            <a:solidFill>
              <a:srgbClr val="000000"/>
            </a:solidFill>
            <a:ln w="1166"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B789AC03-E85A-4590-82EF-C418EDFEBFF9}"/>
                </a:ext>
              </a:extLst>
            </p:cNvPr>
            <p:cNvSpPr/>
            <p:nvPr/>
          </p:nvSpPr>
          <p:spPr>
            <a:xfrm>
              <a:off x="11496262" y="332657"/>
              <a:ext cx="216465" cy="208540"/>
            </a:xfrm>
            <a:custGeom>
              <a:avLst/>
              <a:gdLst>
                <a:gd name="connsiteX0" fmla="*/ 145742 w 216465"/>
                <a:gd name="connsiteY0" fmla="*/ 131087 h 208540"/>
                <a:gd name="connsiteX1" fmla="*/ 125609 w 216465"/>
                <a:gd name="connsiteY1" fmla="*/ 111902 h 208540"/>
                <a:gd name="connsiteX2" fmla="*/ 162609 w 216465"/>
                <a:gd name="connsiteY2" fmla="*/ 59556 h 208540"/>
                <a:gd name="connsiteX3" fmla="*/ 74738 w 216465"/>
                <a:gd name="connsiteY3" fmla="*/ 0 h 208540"/>
                <a:gd name="connsiteX4" fmla="*/ 36321 w 216465"/>
                <a:gd name="connsiteY4" fmla="*/ 632 h 208540"/>
                <a:gd name="connsiteX5" fmla="*/ 15147 w 216465"/>
                <a:gd name="connsiteY5" fmla="*/ 1662 h 208540"/>
                <a:gd name="connsiteX6" fmla="*/ 6450 w 216465"/>
                <a:gd name="connsiteY6" fmla="*/ 2247 h 208540"/>
                <a:gd name="connsiteX7" fmla="*/ 6450 w 216465"/>
                <a:gd name="connsiteY7" fmla="*/ 16586 h 208540"/>
                <a:gd name="connsiteX8" fmla="*/ 8978 w 216465"/>
                <a:gd name="connsiteY8" fmla="*/ 16703 h 208540"/>
                <a:gd name="connsiteX9" fmla="*/ 17698 w 216465"/>
                <a:gd name="connsiteY9" fmla="*/ 25061 h 208540"/>
                <a:gd name="connsiteX10" fmla="*/ 17581 w 216465"/>
                <a:gd name="connsiteY10" fmla="*/ 173413 h 208540"/>
                <a:gd name="connsiteX11" fmla="*/ 2669 w 216465"/>
                <a:gd name="connsiteY11" fmla="*/ 191486 h 208540"/>
                <a:gd name="connsiteX12" fmla="*/ 0 w 216465"/>
                <a:gd name="connsiteY12" fmla="*/ 191626 h 208540"/>
                <a:gd name="connsiteX13" fmla="*/ 0 w 216465"/>
                <a:gd name="connsiteY13" fmla="*/ 205672 h 208540"/>
                <a:gd name="connsiteX14" fmla="*/ 76435 w 216465"/>
                <a:gd name="connsiteY14" fmla="*/ 205672 h 208540"/>
                <a:gd name="connsiteX15" fmla="*/ 76435 w 216465"/>
                <a:gd name="connsiteY15" fmla="*/ 191544 h 208540"/>
                <a:gd name="connsiteX16" fmla="*/ 73790 w 216465"/>
                <a:gd name="connsiteY16" fmla="*/ 191544 h 208540"/>
                <a:gd name="connsiteX17" fmla="*/ 58374 w 216465"/>
                <a:gd name="connsiteY17" fmla="*/ 164353 h 208540"/>
                <a:gd name="connsiteX18" fmla="*/ 58374 w 216465"/>
                <a:gd name="connsiteY18" fmla="*/ 124192 h 208540"/>
                <a:gd name="connsiteX19" fmla="*/ 82651 w 216465"/>
                <a:gd name="connsiteY19" fmla="*/ 123982 h 208540"/>
                <a:gd name="connsiteX20" fmla="*/ 115425 w 216465"/>
                <a:gd name="connsiteY20" fmla="*/ 153526 h 208540"/>
                <a:gd name="connsiteX21" fmla="*/ 132035 w 216465"/>
                <a:gd name="connsiteY21" fmla="*/ 170276 h 208540"/>
                <a:gd name="connsiteX22" fmla="*/ 141926 w 216465"/>
                <a:gd name="connsiteY22" fmla="*/ 180612 h 208540"/>
                <a:gd name="connsiteX23" fmla="*/ 148797 w 216465"/>
                <a:gd name="connsiteY23" fmla="*/ 188232 h 208540"/>
                <a:gd name="connsiteX24" fmla="*/ 201798 w 216465"/>
                <a:gd name="connsiteY24" fmla="*/ 208540 h 208540"/>
                <a:gd name="connsiteX25" fmla="*/ 213281 w 216465"/>
                <a:gd name="connsiteY25" fmla="*/ 208376 h 208540"/>
                <a:gd name="connsiteX26" fmla="*/ 216465 w 216465"/>
                <a:gd name="connsiteY26" fmla="*/ 208306 h 208540"/>
                <a:gd name="connsiteX27" fmla="*/ 216465 w 216465"/>
                <a:gd name="connsiteY27" fmla="*/ 194201 h 208540"/>
                <a:gd name="connsiteX28" fmla="*/ 213504 w 216465"/>
                <a:gd name="connsiteY28" fmla="*/ 193932 h 208540"/>
                <a:gd name="connsiteX29" fmla="*/ 213504 w 216465"/>
                <a:gd name="connsiteY29" fmla="*/ 193932 h 208540"/>
                <a:gd name="connsiteX30" fmla="*/ 190316 w 216465"/>
                <a:gd name="connsiteY30" fmla="*/ 177159 h 208540"/>
                <a:gd name="connsiteX31" fmla="*/ 171131 w 216465"/>
                <a:gd name="connsiteY31" fmla="*/ 156967 h 208540"/>
                <a:gd name="connsiteX32" fmla="*/ 119031 w 216465"/>
                <a:gd name="connsiteY32" fmla="*/ 62728 h 208540"/>
                <a:gd name="connsiteX33" fmla="*/ 65713 w 216465"/>
                <a:gd name="connsiteY33" fmla="*/ 110041 h 208540"/>
                <a:gd name="connsiteX34" fmla="*/ 58397 w 216465"/>
                <a:gd name="connsiteY34" fmla="*/ 109725 h 208540"/>
                <a:gd name="connsiteX35" fmla="*/ 58397 w 216465"/>
                <a:gd name="connsiteY35" fmla="*/ 15334 h 208540"/>
                <a:gd name="connsiteX36" fmla="*/ 71542 w 216465"/>
                <a:gd name="connsiteY36" fmla="*/ 15182 h 208540"/>
                <a:gd name="connsiteX37" fmla="*/ 119031 w 216465"/>
                <a:gd name="connsiteY37" fmla="*/ 62728 h 20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6465" h="208540">
                  <a:moveTo>
                    <a:pt x="145742" y="131087"/>
                  </a:moveTo>
                  <a:cubicBezTo>
                    <a:pt x="143541" y="128874"/>
                    <a:pt x="132632" y="117930"/>
                    <a:pt x="125609" y="111902"/>
                  </a:cubicBezTo>
                  <a:cubicBezTo>
                    <a:pt x="150190" y="100325"/>
                    <a:pt x="162609" y="82721"/>
                    <a:pt x="162609" y="59556"/>
                  </a:cubicBezTo>
                  <a:cubicBezTo>
                    <a:pt x="162609" y="41647"/>
                    <a:pt x="154053" y="0"/>
                    <a:pt x="74738" y="0"/>
                  </a:cubicBezTo>
                  <a:cubicBezTo>
                    <a:pt x="68242" y="0"/>
                    <a:pt x="53037" y="0"/>
                    <a:pt x="36321" y="632"/>
                  </a:cubicBezTo>
                  <a:cubicBezTo>
                    <a:pt x="26243" y="1077"/>
                    <a:pt x="20332" y="1393"/>
                    <a:pt x="15147" y="1662"/>
                  </a:cubicBezTo>
                  <a:lnTo>
                    <a:pt x="6450" y="2247"/>
                  </a:lnTo>
                  <a:lnTo>
                    <a:pt x="6450" y="16586"/>
                  </a:lnTo>
                  <a:lnTo>
                    <a:pt x="8978" y="16703"/>
                  </a:lnTo>
                  <a:cubicBezTo>
                    <a:pt x="15240" y="17160"/>
                    <a:pt x="17616" y="18787"/>
                    <a:pt x="17698" y="25061"/>
                  </a:cubicBezTo>
                  <a:lnTo>
                    <a:pt x="17581" y="173413"/>
                  </a:lnTo>
                  <a:cubicBezTo>
                    <a:pt x="17195" y="185715"/>
                    <a:pt x="16411" y="190842"/>
                    <a:pt x="2669" y="191486"/>
                  </a:cubicBezTo>
                  <a:lnTo>
                    <a:pt x="0" y="191626"/>
                  </a:lnTo>
                  <a:lnTo>
                    <a:pt x="0" y="205672"/>
                  </a:lnTo>
                  <a:lnTo>
                    <a:pt x="76435" y="205672"/>
                  </a:lnTo>
                  <a:lnTo>
                    <a:pt x="76435" y="191544"/>
                  </a:lnTo>
                  <a:lnTo>
                    <a:pt x="73790" y="191544"/>
                  </a:lnTo>
                  <a:cubicBezTo>
                    <a:pt x="58362" y="190783"/>
                    <a:pt x="58374" y="187260"/>
                    <a:pt x="58374" y="164353"/>
                  </a:cubicBezTo>
                  <a:lnTo>
                    <a:pt x="58374" y="124192"/>
                  </a:lnTo>
                  <a:cubicBezTo>
                    <a:pt x="66462" y="124664"/>
                    <a:pt x="74574" y="124593"/>
                    <a:pt x="82651" y="123982"/>
                  </a:cubicBezTo>
                  <a:cubicBezTo>
                    <a:pt x="95000" y="133205"/>
                    <a:pt x="99635" y="137583"/>
                    <a:pt x="115425" y="153526"/>
                  </a:cubicBezTo>
                  <a:lnTo>
                    <a:pt x="132035" y="170276"/>
                  </a:lnTo>
                  <a:cubicBezTo>
                    <a:pt x="135804" y="174092"/>
                    <a:pt x="139058" y="177556"/>
                    <a:pt x="141926" y="180612"/>
                  </a:cubicBezTo>
                  <a:cubicBezTo>
                    <a:pt x="144525" y="183374"/>
                    <a:pt x="146784" y="185949"/>
                    <a:pt x="148797" y="188232"/>
                  </a:cubicBezTo>
                  <a:cubicBezTo>
                    <a:pt x="161087" y="202173"/>
                    <a:pt x="166706" y="208540"/>
                    <a:pt x="201798" y="208540"/>
                  </a:cubicBezTo>
                  <a:cubicBezTo>
                    <a:pt x="205310" y="208540"/>
                    <a:pt x="209044" y="208540"/>
                    <a:pt x="213281" y="208376"/>
                  </a:cubicBezTo>
                  <a:lnTo>
                    <a:pt x="216465" y="208306"/>
                  </a:lnTo>
                  <a:lnTo>
                    <a:pt x="216465" y="194201"/>
                  </a:lnTo>
                  <a:lnTo>
                    <a:pt x="213504" y="193932"/>
                  </a:lnTo>
                  <a:lnTo>
                    <a:pt x="213504" y="193932"/>
                  </a:lnTo>
                  <a:cubicBezTo>
                    <a:pt x="205228" y="193160"/>
                    <a:pt x="200253" y="187810"/>
                    <a:pt x="190316" y="177159"/>
                  </a:cubicBezTo>
                  <a:lnTo>
                    <a:pt x="171131" y="156967"/>
                  </a:lnTo>
                  <a:close/>
                  <a:moveTo>
                    <a:pt x="119031" y="62728"/>
                  </a:moveTo>
                  <a:cubicBezTo>
                    <a:pt x="119031" y="95210"/>
                    <a:pt x="104247" y="108554"/>
                    <a:pt x="65713" y="110041"/>
                  </a:cubicBezTo>
                  <a:cubicBezTo>
                    <a:pt x="64543" y="110041"/>
                    <a:pt x="61195" y="110041"/>
                    <a:pt x="58397" y="109725"/>
                  </a:cubicBezTo>
                  <a:lnTo>
                    <a:pt x="58397" y="15334"/>
                  </a:lnTo>
                  <a:cubicBezTo>
                    <a:pt x="62225" y="15182"/>
                    <a:pt x="68101" y="15182"/>
                    <a:pt x="71542" y="15182"/>
                  </a:cubicBezTo>
                  <a:cubicBezTo>
                    <a:pt x="103193" y="15170"/>
                    <a:pt x="119031" y="31159"/>
                    <a:pt x="119031" y="62728"/>
                  </a:cubicBezTo>
                  <a:close/>
                </a:path>
              </a:pathLst>
            </a:custGeom>
            <a:solidFill>
              <a:srgbClr val="000000"/>
            </a:solidFill>
            <a:ln w="1166"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8EC5F2AF-50F7-42C0-BF67-59E29629103A}"/>
                </a:ext>
              </a:extLst>
            </p:cNvPr>
            <p:cNvSpPr/>
            <p:nvPr/>
          </p:nvSpPr>
          <p:spPr>
            <a:xfrm>
              <a:off x="10830304" y="335724"/>
              <a:ext cx="207171" cy="202652"/>
            </a:xfrm>
            <a:custGeom>
              <a:avLst/>
              <a:gdLst>
                <a:gd name="connsiteX0" fmla="*/ 121430 w 207171"/>
                <a:gd name="connsiteY0" fmla="*/ 0 h 202652"/>
                <a:gd name="connsiteX1" fmla="*/ 90762 w 207171"/>
                <a:gd name="connsiteY1" fmla="*/ 0 h 202652"/>
                <a:gd name="connsiteX2" fmla="*/ 24979 w 207171"/>
                <a:gd name="connsiteY2" fmla="*/ 164529 h 202652"/>
                <a:gd name="connsiteX3" fmla="*/ 2610 w 207171"/>
                <a:gd name="connsiteY3" fmla="*/ 188431 h 202652"/>
                <a:gd name="connsiteX4" fmla="*/ 0 w 207171"/>
                <a:gd name="connsiteY4" fmla="*/ 188606 h 202652"/>
                <a:gd name="connsiteX5" fmla="*/ 0 w 207171"/>
                <a:gd name="connsiteY5" fmla="*/ 202652 h 202652"/>
                <a:gd name="connsiteX6" fmla="*/ 56735 w 207171"/>
                <a:gd name="connsiteY6" fmla="*/ 202652 h 202652"/>
                <a:gd name="connsiteX7" fmla="*/ 56735 w 207171"/>
                <a:gd name="connsiteY7" fmla="*/ 188712 h 202652"/>
                <a:gd name="connsiteX8" fmla="*/ 54184 w 207171"/>
                <a:gd name="connsiteY8" fmla="*/ 188489 h 202652"/>
                <a:gd name="connsiteX9" fmla="*/ 41530 w 207171"/>
                <a:gd name="connsiteY9" fmla="*/ 178879 h 202652"/>
                <a:gd name="connsiteX10" fmla="*/ 44562 w 207171"/>
                <a:gd name="connsiteY10" fmla="*/ 167478 h 202652"/>
                <a:gd name="connsiteX11" fmla="*/ 59779 w 207171"/>
                <a:gd name="connsiteY11" fmla="*/ 128196 h 202652"/>
                <a:gd name="connsiteX12" fmla="*/ 129706 w 207171"/>
                <a:gd name="connsiteY12" fmla="*/ 128196 h 202652"/>
                <a:gd name="connsiteX13" fmla="*/ 144923 w 207171"/>
                <a:gd name="connsiteY13" fmla="*/ 167385 h 202652"/>
                <a:gd name="connsiteX14" fmla="*/ 148844 w 207171"/>
                <a:gd name="connsiteY14" fmla="*/ 179734 h 202652"/>
                <a:gd name="connsiteX15" fmla="*/ 148937 w 207171"/>
                <a:gd name="connsiteY15" fmla="*/ 180202 h 202652"/>
                <a:gd name="connsiteX16" fmla="*/ 147896 w 207171"/>
                <a:gd name="connsiteY16" fmla="*/ 184802 h 202652"/>
                <a:gd name="connsiteX17" fmla="*/ 136577 w 207171"/>
                <a:gd name="connsiteY17" fmla="*/ 188243 h 202652"/>
                <a:gd name="connsiteX18" fmla="*/ 134002 w 207171"/>
                <a:gd name="connsiteY18" fmla="*/ 188442 h 202652"/>
                <a:gd name="connsiteX19" fmla="*/ 134002 w 207171"/>
                <a:gd name="connsiteY19" fmla="*/ 202606 h 202652"/>
                <a:gd name="connsiteX20" fmla="*/ 207171 w 207171"/>
                <a:gd name="connsiteY20" fmla="*/ 202606 h 202652"/>
                <a:gd name="connsiteX21" fmla="*/ 207171 w 207171"/>
                <a:gd name="connsiteY21" fmla="*/ 188700 h 202652"/>
                <a:gd name="connsiteX22" fmla="*/ 204502 w 207171"/>
                <a:gd name="connsiteY22" fmla="*/ 188559 h 202652"/>
                <a:gd name="connsiteX23" fmla="*/ 184603 w 207171"/>
                <a:gd name="connsiteY23" fmla="*/ 167759 h 202652"/>
                <a:gd name="connsiteX24" fmla="*/ 121641 w 207171"/>
                <a:gd name="connsiteY24" fmla="*/ 107161 h 202652"/>
                <a:gd name="connsiteX25" fmla="*/ 67797 w 207171"/>
                <a:gd name="connsiteY25" fmla="*/ 107161 h 202652"/>
                <a:gd name="connsiteX26" fmla="*/ 95140 w 207171"/>
                <a:gd name="connsiteY26" fmla="*/ 37012 h 20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7171" h="202652">
                  <a:moveTo>
                    <a:pt x="121430" y="0"/>
                  </a:moveTo>
                  <a:lnTo>
                    <a:pt x="90762" y="0"/>
                  </a:lnTo>
                  <a:lnTo>
                    <a:pt x="24979" y="164529"/>
                  </a:lnTo>
                  <a:cubicBezTo>
                    <a:pt x="17172" y="183994"/>
                    <a:pt x="15755" y="187506"/>
                    <a:pt x="2610" y="188431"/>
                  </a:cubicBezTo>
                  <a:lnTo>
                    <a:pt x="0" y="188606"/>
                  </a:lnTo>
                  <a:lnTo>
                    <a:pt x="0" y="202652"/>
                  </a:lnTo>
                  <a:lnTo>
                    <a:pt x="56735" y="202652"/>
                  </a:lnTo>
                  <a:lnTo>
                    <a:pt x="56735" y="188712"/>
                  </a:lnTo>
                  <a:lnTo>
                    <a:pt x="54184" y="188489"/>
                  </a:lnTo>
                  <a:cubicBezTo>
                    <a:pt x="43649" y="187319"/>
                    <a:pt x="41202" y="183315"/>
                    <a:pt x="41530" y="178879"/>
                  </a:cubicBezTo>
                  <a:cubicBezTo>
                    <a:pt x="41741" y="176105"/>
                    <a:pt x="42572" y="172839"/>
                    <a:pt x="44562" y="167478"/>
                  </a:cubicBezTo>
                  <a:lnTo>
                    <a:pt x="59779" y="128196"/>
                  </a:lnTo>
                  <a:lnTo>
                    <a:pt x="129706" y="128196"/>
                  </a:lnTo>
                  <a:lnTo>
                    <a:pt x="144923" y="167385"/>
                  </a:lnTo>
                  <a:cubicBezTo>
                    <a:pt x="147369" y="174326"/>
                    <a:pt x="147907" y="175672"/>
                    <a:pt x="148844" y="179734"/>
                  </a:cubicBezTo>
                  <a:lnTo>
                    <a:pt x="148937" y="180202"/>
                  </a:lnTo>
                  <a:cubicBezTo>
                    <a:pt x="149324" y="181814"/>
                    <a:pt x="148939" y="183513"/>
                    <a:pt x="147896" y="184802"/>
                  </a:cubicBezTo>
                  <a:cubicBezTo>
                    <a:pt x="146421" y="186651"/>
                    <a:pt x="142780" y="187763"/>
                    <a:pt x="136577" y="188243"/>
                  </a:cubicBezTo>
                  <a:lnTo>
                    <a:pt x="134002" y="188442"/>
                  </a:lnTo>
                  <a:lnTo>
                    <a:pt x="134002" y="202606"/>
                  </a:lnTo>
                  <a:lnTo>
                    <a:pt x="207171" y="202606"/>
                  </a:lnTo>
                  <a:lnTo>
                    <a:pt x="207171" y="188700"/>
                  </a:lnTo>
                  <a:lnTo>
                    <a:pt x="204502" y="188559"/>
                  </a:lnTo>
                  <a:cubicBezTo>
                    <a:pt x="191989" y="187986"/>
                    <a:pt x="190854" y="184896"/>
                    <a:pt x="184603" y="167759"/>
                  </a:cubicBezTo>
                  <a:close/>
                  <a:moveTo>
                    <a:pt x="121641" y="107161"/>
                  </a:moveTo>
                  <a:lnTo>
                    <a:pt x="67797" y="107161"/>
                  </a:lnTo>
                  <a:lnTo>
                    <a:pt x="95140" y="37012"/>
                  </a:lnTo>
                  <a:close/>
                </a:path>
              </a:pathLst>
            </a:custGeom>
            <a:solidFill>
              <a:srgbClr val="000000"/>
            </a:solidFill>
            <a:ln w="1166"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30826DB0-AD3B-474C-AFA7-1A3A9030BA8D}"/>
                </a:ext>
              </a:extLst>
            </p:cNvPr>
            <p:cNvSpPr/>
            <p:nvPr/>
          </p:nvSpPr>
          <p:spPr>
            <a:xfrm>
              <a:off x="11256925" y="330434"/>
              <a:ext cx="218794" cy="212964"/>
            </a:xfrm>
            <a:custGeom>
              <a:avLst/>
              <a:gdLst>
                <a:gd name="connsiteX0" fmla="*/ 109397 w 218794"/>
                <a:gd name="connsiteY0" fmla="*/ 0 h 212964"/>
                <a:gd name="connsiteX1" fmla="*/ 0 w 218794"/>
                <a:gd name="connsiteY1" fmla="*/ 111878 h 212964"/>
                <a:gd name="connsiteX2" fmla="*/ 108227 w 218794"/>
                <a:gd name="connsiteY2" fmla="*/ 212965 h 212964"/>
                <a:gd name="connsiteX3" fmla="*/ 218794 w 218794"/>
                <a:gd name="connsiteY3" fmla="*/ 102994 h 212964"/>
                <a:gd name="connsiteX4" fmla="*/ 109397 w 218794"/>
                <a:gd name="connsiteY4" fmla="*/ 0 h 212964"/>
                <a:gd name="connsiteX5" fmla="*/ 177861 w 218794"/>
                <a:gd name="connsiteY5" fmla="*/ 110919 h 212964"/>
                <a:gd name="connsiteX6" fmla="*/ 112897 w 218794"/>
                <a:gd name="connsiteY6" fmla="*/ 197210 h 212964"/>
                <a:gd name="connsiteX7" fmla="*/ 40945 w 218794"/>
                <a:gd name="connsiteY7" fmla="*/ 103310 h 212964"/>
                <a:gd name="connsiteX8" fmla="*/ 107056 w 218794"/>
                <a:gd name="connsiteY8" fmla="*/ 15744 h 212964"/>
                <a:gd name="connsiteX9" fmla="*/ 177861 w 218794"/>
                <a:gd name="connsiteY9" fmla="*/ 110919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794" h="212964">
                  <a:moveTo>
                    <a:pt x="109397" y="0"/>
                  </a:moveTo>
                  <a:cubicBezTo>
                    <a:pt x="45966" y="0"/>
                    <a:pt x="0" y="47043"/>
                    <a:pt x="0" y="111878"/>
                  </a:cubicBezTo>
                  <a:cubicBezTo>
                    <a:pt x="0" y="170405"/>
                    <a:pt x="45522" y="212965"/>
                    <a:pt x="108227" y="212965"/>
                  </a:cubicBezTo>
                  <a:cubicBezTo>
                    <a:pt x="171259" y="212965"/>
                    <a:pt x="218794" y="165687"/>
                    <a:pt x="218794" y="102994"/>
                  </a:cubicBezTo>
                  <a:cubicBezTo>
                    <a:pt x="218794" y="42349"/>
                    <a:pt x="173811" y="0"/>
                    <a:pt x="109397" y="0"/>
                  </a:cubicBezTo>
                  <a:close/>
                  <a:moveTo>
                    <a:pt x="177861" y="110919"/>
                  </a:moveTo>
                  <a:cubicBezTo>
                    <a:pt x="177861" y="162539"/>
                    <a:pt x="151758" y="197210"/>
                    <a:pt x="112897" y="197210"/>
                  </a:cubicBezTo>
                  <a:cubicBezTo>
                    <a:pt x="77138" y="197210"/>
                    <a:pt x="40945" y="164950"/>
                    <a:pt x="40945" y="103310"/>
                  </a:cubicBezTo>
                  <a:cubicBezTo>
                    <a:pt x="40945" y="49302"/>
                    <a:pt x="66275" y="15744"/>
                    <a:pt x="107056" y="15744"/>
                  </a:cubicBezTo>
                  <a:cubicBezTo>
                    <a:pt x="148738" y="15744"/>
                    <a:pt x="177861" y="54886"/>
                    <a:pt x="177861" y="110919"/>
                  </a:cubicBezTo>
                  <a:close/>
                </a:path>
              </a:pathLst>
            </a:custGeom>
            <a:solidFill>
              <a:srgbClr val="000000"/>
            </a:solidFill>
            <a:ln w="1166"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19807EA-3F8A-486D-ADCB-6F9574397D48}"/>
                </a:ext>
              </a:extLst>
            </p:cNvPr>
            <p:cNvSpPr/>
            <p:nvPr/>
          </p:nvSpPr>
          <p:spPr>
            <a:xfrm>
              <a:off x="11045727" y="330434"/>
              <a:ext cx="196811" cy="212964"/>
            </a:xfrm>
            <a:custGeom>
              <a:avLst/>
              <a:gdLst>
                <a:gd name="connsiteX0" fmla="*/ 196812 w 196811"/>
                <a:gd name="connsiteY0" fmla="*/ 165348 h 212964"/>
                <a:gd name="connsiteX1" fmla="*/ 180635 w 196811"/>
                <a:gd name="connsiteY1" fmla="*/ 165547 h 212964"/>
                <a:gd name="connsiteX2" fmla="*/ 179828 w 196811"/>
                <a:gd name="connsiteY2" fmla="*/ 166659 h 212964"/>
                <a:gd name="connsiteX3" fmla="*/ 118960 w 196811"/>
                <a:gd name="connsiteY3" fmla="*/ 195922 h 212964"/>
                <a:gd name="connsiteX4" fmla="*/ 70255 w 196811"/>
                <a:gd name="connsiteY4" fmla="*/ 176585 h 212964"/>
                <a:gd name="connsiteX5" fmla="*/ 41729 w 196811"/>
                <a:gd name="connsiteY5" fmla="*/ 102023 h 212964"/>
                <a:gd name="connsiteX6" fmla="*/ 113623 w 196811"/>
                <a:gd name="connsiteY6" fmla="*/ 15720 h 212964"/>
                <a:gd name="connsiteX7" fmla="*/ 179359 w 196811"/>
                <a:gd name="connsiteY7" fmla="*/ 50391 h 212964"/>
                <a:gd name="connsiteX8" fmla="*/ 180155 w 196811"/>
                <a:gd name="connsiteY8" fmla="*/ 51959 h 212964"/>
                <a:gd name="connsiteX9" fmla="*/ 193558 w 196811"/>
                <a:gd name="connsiteY9" fmla="*/ 51749 h 212964"/>
                <a:gd name="connsiteX10" fmla="*/ 192259 w 196811"/>
                <a:gd name="connsiteY10" fmla="*/ 9142 h 212964"/>
                <a:gd name="connsiteX11" fmla="*/ 181267 w 196811"/>
                <a:gd name="connsiteY11" fmla="*/ 9142 h 212964"/>
                <a:gd name="connsiteX12" fmla="*/ 180694 w 196811"/>
                <a:gd name="connsiteY12" fmla="*/ 9528 h 212964"/>
                <a:gd name="connsiteX13" fmla="*/ 176515 w 196811"/>
                <a:gd name="connsiteY13" fmla="*/ 10453 h 212964"/>
                <a:gd name="connsiteX14" fmla="*/ 163768 w 196811"/>
                <a:gd name="connsiteY14" fmla="*/ 7761 h 212964"/>
                <a:gd name="connsiteX15" fmla="*/ 112441 w 196811"/>
                <a:gd name="connsiteY15" fmla="*/ 0 h 212964"/>
                <a:gd name="connsiteX16" fmla="*/ 0 w 196811"/>
                <a:gd name="connsiteY16" fmla="*/ 110275 h 212964"/>
                <a:gd name="connsiteX17" fmla="*/ 110029 w 196811"/>
                <a:gd name="connsiteY17" fmla="*/ 212965 h 212964"/>
                <a:gd name="connsiteX18" fmla="*/ 149382 w 196811"/>
                <a:gd name="connsiteY18" fmla="*/ 208411 h 212964"/>
                <a:gd name="connsiteX19" fmla="*/ 169808 w 196811"/>
                <a:gd name="connsiteY19" fmla="*/ 205661 h 212964"/>
                <a:gd name="connsiteX20" fmla="*/ 172804 w 196811"/>
                <a:gd name="connsiteY20" fmla="*/ 205567 h 212964"/>
                <a:gd name="connsiteX21" fmla="*/ 179406 w 196811"/>
                <a:gd name="connsiteY21" fmla="*/ 205719 h 212964"/>
                <a:gd name="connsiteX22" fmla="*/ 182414 w 196811"/>
                <a:gd name="connsiteY22" fmla="*/ 206012 h 21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811" h="212964">
                  <a:moveTo>
                    <a:pt x="196812" y="165348"/>
                  </a:moveTo>
                  <a:lnTo>
                    <a:pt x="180635" y="165547"/>
                  </a:lnTo>
                  <a:lnTo>
                    <a:pt x="179828" y="166659"/>
                  </a:lnTo>
                  <a:cubicBezTo>
                    <a:pt x="163440" y="186839"/>
                    <a:pt x="146315" y="195044"/>
                    <a:pt x="118960" y="195922"/>
                  </a:cubicBezTo>
                  <a:cubicBezTo>
                    <a:pt x="100712" y="196577"/>
                    <a:pt x="83927" y="189824"/>
                    <a:pt x="70255" y="176585"/>
                  </a:cubicBezTo>
                  <a:cubicBezTo>
                    <a:pt x="52123" y="159027"/>
                    <a:pt x="41729" y="131859"/>
                    <a:pt x="41729" y="102023"/>
                  </a:cubicBezTo>
                  <a:cubicBezTo>
                    <a:pt x="41729" y="50403"/>
                    <a:pt x="70618" y="15720"/>
                    <a:pt x="113623" y="15720"/>
                  </a:cubicBezTo>
                  <a:cubicBezTo>
                    <a:pt x="143799" y="15720"/>
                    <a:pt x="168989" y="28994"/>
                    <a:pt x="179359" y="50391"/>
                  </a:cubicBezTo>
                  <a:lnTo>
                    <a:pt x="180155" y="51959"/>
                  </a:lnTo>
                  <a:lnTo>
                    <a:pt x="193558" y="51749"/>
                  </a:lnTo>
                  <a:lnTo>
                    <a:pt x="192259" y="9142"/>
                  </a:lnTo>
                  <a:lnTo>
                    <a:pt x="181267" y="9142"/>
                  </a:lnTo>
                  <a:lnTo>
                    <a:pt x="180694" y="9528"/>
                  </a:lnTo>
                  <a:cubicBezTo>
                    <a:pt x="179431" y="10264"/>
                    <a:pt x="177970" y="10587"/>
                    <a:pt x="176515" y="10453"/>
                  </a:cubicBezTo>
                  <a:cubicBezTo>
                    <a:pt x="173928" y="10359"/>
                    <a:pt x="169492" y="9282"/>
                    <a:pt x="163768" y="7761"/>
                  </a:cubicBezTo>
                  <a:cubicBezTo>
                    <a:pt x="152039" y="4682"/>
                    <a:pt x="134259" y="0"/>
                    <a:pt x="112441" y="0"/>
                  </a:cubicBezTo>
                  <a:cubicBezTo>
                    <a:pt x="34765" y="0"/>
                    <a:pt x="0" y="55377"/>
                    <a:pt x="0" y="110275"/>
                  </a:cubicBezTo>
                  <a:cubicBezTo>
                    <a:pt x="0" y="172652"/>
                    <a:pt x="43192" y="212965"/>
                    <a:pt x="110029" y="212965"/>
                  </a:cubicBezTo>
                  <a:cubicBezTo>
                    <a:pt x="124965" y="212965"/>
                    <a:pt x="138461" y="210448"/>
                    <a:pt x="149382" y="208411"/>
                  </a:cubicBezTo>
                  <a:cubicBezTo>
                    <a:pt x="156745" y="207030"/>
                    <a:pt x="163838" y="205789"/>
                    <a:pt x="169808" y="205661"/>
                  </a:cubicBezTo>
                  <a:cubicBezTo>
                    <a:pt x="171119" y="205661"/>
                    <a:pt x="172032" y="205661"/>
                    <a:pt x="172804" y="205567"/>
                  </a:cubicBezTo>
                  <a:cubicBezTo>
                    <a:pt x="175006" y="205507"/>
                    <a:pt x="177209" y="205558"/>
                    <a:pt x="179406" y="205719"/>
                  </a:cubicBezTo>
                  <a:lnTo>
                    <a:pt x="182414" y="206012"/>
                  </a:lnTo>
                  <a:close/>
                </a:path>
              </a:pathLst>
            </a:custGeom>
            <a:solidFill>
              <a:srgbClr val="000000"/>
            </a:solidFill>
            <a:ln w="1166" cap="flat">
              <a:noFill/>
              <a:prstDash val="solid"/>
              <a:miter/>
            </a:ln>
          </p:spPr>
          <p:txBody>
            <a:bodyPr rtlCol="0" anchor="ctr"/>
            <a:lstStyle/>
            <a:p>
              <a:endParaRPr lang="de-DE"/>
            </a:p>
          </p:txBody>
        </p:sp>
      </p:grpSp>
    </p:spTree>
    <p:extLst>
      <p:ext uri="{BB962C8B-B14F-4D97-AF65-F5344CB8AC3E}">
        <p14:creationId xmlns:p14="http://schemas.microsoft.com/office/powerpoint/2010/main" val="19205689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4" r:id="rId10"/>
    <p:sldLayoutId id="2147483670" r:id="rId11"/>
  </p:sldLayoutIdLst>
  <p:hf hdr="0"/>
  <p:txStyles>
    <p:titleStyle>
      <a:lvl1pPr algn="l" defTabSz="914400" rtl="0" eaLnBrk="1" latinLnBrk="0" hangingPunct="1">
        <a:lnSpc>
          <a:spcPct val="90000"/>
        </a:lnSpc>
        <a:spcBef>
          <a:spcPct val="0"/>
        </a:spcBef>
        <a:buNone/>
        <a:defRPr sz="2200" b="1" kern="1200" baseline="0">
          <a:solidFill>
            <a:schemeClr val="tx1"/>
          </a:solidFill>
          <a:latin typeface="+mn-lt"/>
          <a:ea typeface="Malgun Gothic Semilight" panose="020B0502040204020203" pitchFamily="34" charset="-128"/>
          <a:cs typeface="Malgun Gothic Semilight" panose="020B0502040204020203" pitchFamily="34" charset="-128"/>
        </a:defRPr>
      </a:lvl1pPr>
    </p:titleStyle>
    <p:bodyStyle>
      <a:lvl1pPr marL="0" indent="0" algn="l" defTabSz="914400" rtl="0" eaLnBrk="1" latinLnBrk="0" hangingPunct="1">
        <a:lnSpc>
          <a:spcPct val="100000"/>
        </a:lnSpc>
        <a:spcBef>
          <a:spcPts val="1800"/>
        </a:spcBef>
        <a:spcAft>
          <a:spcPts val="800"/>
        </a:spcAft>
        <a:buFont typeface="Wingdings" panose="05000000000000000000" pitchFamily="2" charset="2"/>
        <a:buNone/>
        <a:defRPr sz="1600" b="1" kern="1200" cap="none" baseline="0">
          <a:solidFill>
            <a:schemeClr val="tx1"/>
          </a:solidFill>
          <a:latin typeface="+mn-lt"/>
          <a:ea typeface="+mn-ea"/>
          <a:cs typeface="+mn-cs"/>
        </a:defRPr>
      </a:lvl1pPr>
      <a:lvl2pPr marL="0" indent="0" algn="l" defTabSz="914400" rtl="0" eaLnBrk="1" latinLnBrk="0" hangingPunct="1">
        <a:lnSpc>
          <a:spcPct val="100000"/>
        </a:lnSpc>
        <a:spcBef>
          <a:spcPts val="400"/>
        </a:spcBef>
        <a:spcAft>
          <a:spcPts val="400"/>
        </a:spcAft>
        <a:buFont typeface="Wingdings" panose="05000000000000000000" pitchFamily="2" charset="2"/>
        <a:buNone/>
        <a:defRPr sz="1200" kern="1200">
          <a:solidFill>
            <a:schemeClr val="tx1"/>
          </a:solidFill>
          <a:latin typeface="+mn-lt"/>
          <a:ea typeface="+mn-ea"/>
          <a:cs typeface="+mn-cs"/>
        </a:defRPr>
      </a:lvl2pPr>
      <a:lvl3pPr marL="182880" indent="-182880" algn="l" defTabSz="914400" rtl="0" eaLnBrk="1" latinLnBrk="0" hangingPunct="1">
        <a:lnSpc>
          <a:spcPct val="100000"/>
        </a:lnSpc>
        <a:spcBef>
          <a:spcPts val="400"/>
        </a:spcBef>
        <a:spcAft>
          <a:spcPts val="400"/>
        </a:spcAft>
        <a:buClr>
          <a:schemeClr val="tx1"/>
        </a:buClr>
        <a:buFont typeface="Wingdings" panose="05000000000000000000" pitchFamily="2" charset="2"/>
        <a:buChar char="§"/>
        <a:defRPr sz="1200" kern="1200">
          <a:solidFill>
            <a:schemeClr val="tx1"/>
          </a:solidFill>
          <a:latin typeface="+mn-lt"/>
          <a:ea typeface="+mn-ea"/>
          <a:cs typeface="+mn-cs"/>
        </a:defRPr>
      </a:lvl3pPr>
      <a:lvl4pPr marL="365760" indent="-182880" algn="l" defTabSz="914400" rtl="0" eaLnBrk="1" latinLnBrk="0" hangingPunct="1">
        <a:lnSpc>
          <a:spcPct val="100000"/>
        </a:lnSpc>
        <a:spcBef>
          <a:spcPts val="40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4pPr>
      <a:lvl5pPr marL="548640" indent="-182880" algn="l" defTabSz="914400" rtl="0" eaLnBrk="1" latinLnBrk="0" hangingPunct="1">
        <a:lnSpc>
          <a:spcPct val="100000"/>
        </a:lnSpc>
        <a:spcBef>
          <a:spcPts val="400"/>
        </a:spcBef>
        <a:spcAft>
          <a:spcPts val="400"/>
        </a:spcAft>
        <a:buClr>
          <a:schemeClr val="tx1"/>
        </a:buClr>
        <a:buFont typeface="Arial" panose="020B0604020202020204" pitchFamily="34" charset="0"/>
        <a:buChar char="•"/>
        <a:defRPr sz="1200" kern="1200">
          <a:solidFill>
            <a:schemeClr val="tx1"/>
          </a:solidFill>
          <a:latin typeface="+mn-lt"/>
          <a:ea typeface="+mn-ea"/>
          <a:cs typeface="+mn-cs"/>
        </a:defRPr>
      </a:lvl5pPr>
      <a:lvl6pPr marL="715963" indent="-179388" algn="l" defTabSz="914400" rtl="0" eaLnBrk="1" latinLnBrk="0" hangingPunct="1">
        <a:lnSpc>
          <a:spcPct val="100000"/>
        </a:lnSpc>
        <a:spcBef>
          <a:spcPts val="400"/>
        </a:spcBef>
        <a:buFont typeface="Symbol" panose="05050102010706020507" pitchFamily="18" charset="2"/>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60" userDrawn="1">
          <p15:clr>
            <a:srgbClr val="F26B43"/>
          </p15:clr>
        </p15:guide>
        <p15:guide id="3" pos="7378">
          <p15:clr>
            <a:srgbClr val="F26B43"/>
          </p15:clr>
        </p15:guide>
        <p15:guide id="5" pos="302">
          <p15:clr>
            <a:srgbClr val="F26B43"/>
          </p15:clr>
        </p15:guide>
        <p15:guide id="6" orient="horz" pos="11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en.wikipedia.org/wiki/Cohesion_%28computer_science%29" TargetMode="Externa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4.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www.cs.utexas.edu/~EWD/transcriptions/EWD03xx/EWD340.html/"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homepages.cs.ncl.ac.uk/brian.randell/NATO/nato1968.PDF"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B0109A7-5549-4496-94A0-742A8E550A4F}"/>
              </a:ext>
            </a:extLst>
          </p:cNvPr>
          <p:cNvGraphicFramePr>
            <a:graphicFrameLocks noChangeAspect="1"/>
          </p:cNvGraphicFramePr>
          <p:nvPr>
            <p:custDataLst>
              <p:tags r:id="rId1"/>
            </p:custDataLst>
            <p:extLst>
              <p:ext uri="{D42A27DB-BD31-4B8C-83A1-F6EECF244321}">
                <p14:modId xmlns:p14="http://schemas.microsoft.com/office/powerpoint/2010/main" val="3382366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ct 7" hidden="1">
                        <a:extLst>
                          <a:ext uri="{FF2B5EF4-FFF2-40B4-BE49-F238E27FC236}">
                            <a16:creationId xmlns:a16="http://schemas.microsoft.com/office/drawing/2014/main" id="{3B0109A7-5549-4496-94A0-742A8E550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B725CF-6114-42AB-9A4F-7A839183F029}"/>
              </a:ext>
            </a:extLst>
          </p:cNvPr>
          <p:cNvSpPr/>
          <p:nvPr>
            <p:custDataLst>
              <p:tags r:id="rId2"/>
            </p:custDataLst>
          </p:nvPr>
        </p:nvSpPr>
        <p:spPr>
          <a:xfrm>
            <a:off x="0" y="0"/>
            <a:ext cx="158750" cy="158750"/>
          </a:xfrm>
          <a:prstGeom prst="rect">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b="1" dirty="0">
              <a:solidFill>
                <a:schemeClr val="tx1"/>
              </a:solidFill>
              <a:latin typeface="Arial" panose="020B0604020202020204" pitchFamily="34" charset="0"/>
              <a:ea typeface="Malgun Gothic Semilight" panose="020B0502040204020203" pitchFamily="34" charset="-128"/>
              <a:cs typeface="Malgun Gothic Semilight" panose="020B0502040204020203" pitchFamily="34" charset="-128"/>
              <a:sym typeface="Arial" panose="020B0604020202020204" pitchFamily="34" charset="0"/>
            </a:endParaRPr>
          </a:p>
        </p:txBody>
      </p:sp>
      <p:sp>
        <p:nvSpPr>
          <p:cNvPr id="5" name="Title 4">
            <a:extLst>
              <a:ext uri="{FF2B5EF4-FFF2-40B4-BE49-F238E27FC236}">
                <a16:creationId xmlns:a16="http://schemas.microsoft.com/office/drawing/2014/main" id="{75C46ABB-C3D1-4CC0-BEA1-5F83B1FD1521}"/>
              </a:ext>
            </a:extLst>
          </p:cNvPr>
          <p:cNvSpPr>
            <a:spLocks noGrp="1"/>
          </p:cNvSpPr>
          <p:nvPr>
            <p:ph type="ctrTitle"/>
          </p:nvPr>
        </p:nvSpPr>
        <p:spPr/>
        <p:txBody>
          <a:bodyPr/>
          <a:lstStyle/>
          <a:p>
            <a:r>
              <a:rPr lang="de-DE" dirty="0"/>
              <a:t>Coding Dojo</a:t>
            </a:r>
          </a:p>
        </p:txBody>
      </p:sp>
      <p:sp>
        <p:nvSpPr>
          <p:cNvPr id="6" name="Subtitle 5">
            <a:extLst>
              <a:ext uri="{FF2B5EF4-FFF2-40B4-BE49-F238E27FC236}">
                <a16:creationId xmlns:a16="http://schemas.microsoft.com/office/drawing/2014/main" id="{60B3E0BF-65CF-4FEC-A117-1912D077711F}"/>
              </a:ext>
            </a:extLst>
          </p:cNvPr>
          <p:cNvSpPr>
            <a:spLocks noGrp="1"/>
          </p:cNvSpPr>
          <p:nvPr>
            <p:ph type="subTitle" idx="1"/>
          </p:nvPr>
        </p:nvSpPr>
        <p:spPr>
          <a:xfrm>
            <a:off x="479425" y="3869599"/>
            <a:ext cx="9180513" cy="276999"/>
          </a:xfrm>
        </p:spPr>
        <p:txBody>
          <a:bodyPr/>
          <a:lstStyle/>
          <a:p>
            <a:r>
              <a:rPr lang="de-DE" dirty="0"/>
              <a:t>Test Drive Development</a:t>
            </a:r>
          </a:p>
        </p:txBody>
      </p:sp>
      <p:sp>
        <p:nvSpPr>
          <p:cNvPr id="7" name="Text Placeholder 6">
            <a:extLst>
              <a:ext uri="{FF2B5EF4-FFF2-40B4-BE49-F238E27FC236}">
                <a16:creationId xmlns:a16="http://schemas.microsoft.com/office/drawing/2014/main" id="{EB67B40B-629D-41CF-88FB-6E52FFD3F861}"/>
              </a:ext>
            </a:extLst>
          </p:cNvPr>
          <p:cNvSpPr>
            <a:spLocks noGrp="1"/>
          </p:cNvSpPr>
          <p:nvPr>
            <p:ph type="body" sz="quarter" idx="10"/>
          </p:nvPr>
        </p:nvSpPr>
        <p:spPr/>
        <p:txBody>
          <a:bodyPr/>
          <a:lstStyle/>
          <a:p>
            <a:endParaRPr lang="de-DE" dirty="0"/>
          </a:p>
        </p:txBody>
      </p:sp>
    </p:spTree>
    <p:extLst>
      <p:ext uri="{BB962C8B-B14F-4D97-AF65-F5344CB8AC3E}">
        <p14:creationId xmlns:p14="http://schemas.microsoft.com/office/powerpoint/2010/main" val="1253751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7116C3-BBE7-F504-11DF-A95FAF3B213F}"/>
              </a:ext>
            </a:extLst>
          </p:cNvPr>
          <p:cNvSpPr>
            <a:spLocks noGrp="1"/>
          </p:cNvSpPr>
          <p:nvPr>
            <p:ph type="sldNum" sz="quarter" idx="11"/>
          </p:nvPr>
        </p:nvSpPr>
        <p:spPr/>
        <p:txBody>
          <a:bodyPr/>
          <a:lstStyle/>
          <a:p>
            <a:fld id="{C50CBA42-791E-4851-9FB4-39A223136DC3}" type="slidenum">
              <a:rPr lang="de-DE" smtClean="0"/>
              <a:t>10</a:t>
            </a:fld>
            <a:endParaRPr lang="de-DE"/>
          </a:p>
        </p:txBody>
      </p:sp>
      <p:sp>
        <p:nvSpPr>
          <p:cNvPr id="3" name="Text Placeholder 2">
            <a:extLst>
              <a:ext uri="{FF2B5EF4-FFF2-40B4-BE49-F238E27FC236}">
                <a16:creationId xmlns:a16="http://schemas.microsoft.com/office/drawing/2014/main" id="{1B7873FF-3B64-E53B-4D6C-13BE7DA1C1A0}"/>
              </a:ext>
            </a:extLst>
          </p:cNvPr>
          <p:cNvSpPr>
            <a:spLocks noGrp="1"/>
          </p:cNvSpPr>
          <p:nvPr>
            <p:ph type="body" sz="quarter" idx="15"/>
          </p:nvPr>
        </p:nvSpPr>
        <p:spPr>
          <a:xfrm>
            <a:off x="479424" y="340366"/>
            <a:ext cx="9509760" cy="246221"/>
          </a:xfrm>
        </p:spPr>
        <p:txBody>
          <a:bodyPr/>
          <a:lstStyle/>
          <a:p>
            <a:r>
              <a:rPr lang="en-US" dirty="0"/>
              <a:t>Test driven development</a:t>
            </a:r>
          </a:p>
        </p:txBody>
      </p:sp>
      <p:sp>
        <p:nvSpPr>
          <p:cNvPr id="4" name="Content Placeholder 3">
            <a:extLst>
              <a:ext uri="{FF2B5EF4-FFF2-40B4-BE49-F238E27FC236}">
                <a16:creationId xmlns:a16="http://schemas.microsoft.com/office/drawing/2014/main" id="{9968BF99-6FD4-E267-3CE4-21D3613ED91A}"/>
              </a:ext>
            </a:extLst>
          </p:cNvPr>
          <p:cNvSpPr>
            <a:spLocks noGrp="1"/>
          </p:cNvSpPr>
          <p:nvPr>
            <p:ph sz="quarter" idx="17"/>
          </p:nvPr>
        </p:nvSpPr>
        <p:spPr/>
        <p:txBody>
          <a:bodyPr/>
          <a:lstStyle/>
          <a:p>
            <a:pPr marL="285750" indent="-285750">
              <a:buFontTx/>
              <a:buChar char="-"/>
            </a:pPr>
            <a:r>
              <a:rPr lang="en-DE" sz="1800" dirty="0"/>
              <a:t>We need </a:t>
            </a:r>
            <a:r>
              <a:rPr lang="en-DE" sz="1800" u="sng" dirty="0"/>
              <a:t>abstraction</a:t>
            </a:r>
            <a:r>
              <a:rPr lang="en-DE" sz="1800" dirty="0"/>
              <a:t> and </a:t>
            </a:r>
            <a:r>
              <a:rPr lang="en-US" sz="2000" b="1" i="0" u="sng" dirty="0">
                <a:effectLst/>
              </a:rPr>
              <a:t>modularization</a:t>
            </a:r>
            <a:r>
              <a:rPr lang="en-US" sz="2000" b="1" i="0" dirty="0">
                <a:effectLst/>
              </a:rPr>
              <a:t> to develop software</a:t>
            </a:r>
          </a:p>
          <a:p>
            <a:pPr marL="285750" lvl="1" indent="-285750">
              <a:buFontTx/>
              <a:buChar char="-"/>
            </a:pPr>
            <a:r>
              <a:rPr lang="en-US" sz="1400" b="1" dirty="0"/>
              <a:t>Abstractions hide complexity</a:t>
            </a:r>
          </a:p>
          <a:p>
            <a:pPr marL="285750" lvl="1" indent="-285750">
              <a:buFontTx/>
              <a:buChar char="-"/>
            </a:pPr>
            <a:r>
              <a:rPr lang="en-US" sz="1400" b="1" dirty="0"/>
              <a:t>Modules split complex things into smaller parts</a:t>
            </a:r>
          </a:p>
          <a:p>
            <a:pPr marL="285750" indent="-285750">
              <a:buFontTx/>
              <a:buChar char="-"/>
            </a:pPr>
            <a:r>
              <a:rPr lang="en-US" sz="1800" dirty="0"/>
              <a:t>A module exports parts of itself to be used by others, this is its interface</a:t>
            </a:r>
          </a:p>
          <a:p>
            <a:pPr marL="285750" lvl="1" indent="-285750">
              <a:buFontTx/>
              <a:buChar char="-"/>
            </a:pPr>
            <a:r>
              <a:rPr lang="en-US" sz="1400" dirty="0"/>
              <a:t>An interface is an abstraction and makes modules e.g. replaceable</a:t>
            </a:r>
          </a:p>
          <a:p>
            <a:pPr marL="285750" indent="-285750">
              <a:buFontTx/>
              <a:buChar char="-"/>
            </a:pPr>
            <a:r>
              <a:rPr lang="en-US" sz="1800" dirty="0"/>
              <a:t>An interface is the meaning and semantics of exchanges between separate pieces of code</a:t>
            </a:r>
          </a:p>
          <a:p>
            <a:pPr marL="285750" indent="-285750">
              <a:buFontTx/>
              <a:buChar char="-"/>
            </a:pPr>
            <a:r>
              <a:rPr lang="en-DE" sz="1800" dirty="0"/>
              <a:t>The system under test (SUT) in TDD is a module</a:t>
            </a:r>
          </a:p>
          <a:p>
            <a:pPr marL="285750" indent="-285750">
              <a:buFontTx/>
              <a:buChar char="-"/>
            </a:pPr>
            <a:endParaRPr lang="en-US" sz="1800" dirty="0"/>
          </a:p>
          <a:p>
            <a:pPr lvl="1"/>
            <a:endParaRPr lang="en-DE" sz="1400" dirty="0"/>
          </a:p>
        </p:txBody>
      </p:sp>
      <p:sp>
        <p:nvSpPr>
          <p:cNvPr id="5" name="Footer Placeholder 4">
            <a:extLst>
              <a:ext uri="{FF2B5EF4-FFF2-40B4-BE49-F238E27FC236}">
                <a16:creationId xmlns:a16="http://schemas.microsoft.com/office/drawing/2014/main" id="{9E8CD309-E258-F906-9CDE-4F898D8E4893}"/>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25CA671F-B81C-D8FA-23DB-51947AE80D96}"/>
              </a:ext>
            </a:extLst>
          </p:cNvPr>
          <p:cNvSpPr>
            <a:spLocks noGrp="1"/>
          </p:cNvSpPr>
          <p:nvPr>
            <p:ph type="title"/>
          </p:nvPr>
        </p:nvSpPr>
        <p:spPr/>
        <p:txBody>
          <a:bodyPr/>
          <a:lstStyle/>
          <a:p>
            <a:r>
              <a:rPr lang="en-DE" dirty="0"/>
              <a:t>What is an interface or a module?</a:t>
            </a:r>
          </a:p>
        </p:txBody>
      </p:sp>
      <p:sp>
        <p:nvSpPr>
          <p:cNvPr id="7" name="Date Placeholder 6">
            <a:extLst>
              <a:ext uri="{FF2B5EF4-FFF2-40B4-BE49-F238E27FC236}">
                <a16:creationId xmlns:a16="http://schemas.microsoft.com/office/drawing/2014/main" id="{AD917B79-0256-AFCD-08CE-8A056A535DAA}"/>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314412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8AE7DC-84B2-5D89-583A-988EC3A57780}"/>
              </a:ext>
            </a:extLst>
          </p:cNvPr>
          <p:cNvSpPr>
            <a:spLocks noGrp="1"/>
          </p:cNvSpPr>
          <p:nvPr>
            <p:ph type="sldNum" sz="quarter" idx="11"/>
          </p:nvPr>
        </p:nvSpPr>
        <p:spPr/>
        <p:txBody>
          <a:bodyPr/>
          <a:lstStyle/>
          <a:p>
            <a:fld id="{C50CBA42-791E-4851-9FB4-39A223136DC3}" type="slidenum">
              <a:rPr lang="de-DE" smtClean="0"/>
              <a:t>11</a:t>
            </a:fld>
            <a:endParaRPr lang="de-DE"/>
          </a:p>
        </p:txBody>
      </p:sp>
      <p:sp>
        <p:nvSpPr>
          <p:cNvPr id="3" name="Text Placeholder 2">
            <a:extLst>
              <a:ext uri="{FF2B5EF4-FFF2-40B4-BE49-F238E27FC236}">
                <a16:creationId xmlns:a16="http://schemas.microsoft.com/office/drawing/2014/main" id="{2DB92B4B-867B-CCC8-59D4-671E16821135}"/>
              </a:ext>
            </a:extLst>
          </p:cNvPr>
          <p:cNvSpPr>
            <a:spLocks noGrp="1"/>
          </p:cNvSpPr>
          <p:nvPr>
            <p:ph type="body" sz="quarter" idx="15"/>
          </p:nvPr>
        </p:nvSpPr>
        <p:spPr>
          <a:xfrm>
            <a:off x="479424" y="340366"/>
            <a:ext cx="9509760" cy="246221"/>
          </a:xfrm>
        </p:spPr>
        <p:txBody>
          <a:bodyPr/>
          <a:lstStyle/>
          <a:p>
            <a:r>
              <a:rPr lang="en-US" dirty="0"/>
              <a:t>Test driven development</a:t>
            </a:r>
          </a:p>
        </p:txBody>
      </p:sp>
      <p:sp>
        <p:nvSpPr>
          <p:cNvPr id="4" name="Content Placeholder 3">
            <a:extLst>
              <a:ext uri="{FF2B5EF4-FFF2-40B4-BE49-F238E27FC236}">
                <a16:creationId xmlns:a16="http://schemas.microsoft.com/office/drawing/2014/main" id="{4AD76DBC-5FDF-D682-3929-A0013182A5D3}"/>
              </a:ext>
            </a:extLst>
          </p:cNvPr>
          <p:cNvSpPr>
            <a:spLocks noGrp="1"/>
          </p:cNvSpPr>
          <p:nvPr>
            <p:ph sz="quarter" idx="17"/>
          </p:nvPr>
        </p:nvSpPr>
        <p:spPr/>
        <p:txBody>
          <a:bodyPr/>
          <a:lstStyle/>
          <a:p>
            <a:pPr marL="285750" indent="-285750">
              <a:buFontTx/>
              <a:buChar char="-"/>
            </a:pPr>
            <a:r>
              <a:rPr lang="en-DE" sz="1800" dirty="0"/>
              <a:t>Seperation of responsibilities</a:t>
            </a:r>
          </a:p>
          <a:p>
            <a:pPr marL="285750" lvl="1" indent="-285750">
              <a:buFontTx/>
              <a:buChar char="-"/>
            </a:pPr>
            <a:r>
              <a:rPr lang="en-US" sz="1800" dirty="0"/>
              <a:t>Separate </a:t>
            </a:r>
            <a:r>
              <a:rPr lang="en-DE" sz="1800" dirty="0"/>
              <a:t>decision to take an action </a:t>
            </a:r>
            <a:r>
              <a:rPr lang="de-DE" sz="1800" dirty="0" err="1"/>
              <a:t>from</a:t>
            </a:r>
            <a:r>
              <a:rPr lang="en-DE" sz="1800" dirty="0"/>
              <a:t> doing the action</a:t>
            </a:r>
          </a:p>
          <a:p>
            <a:pPr marL="285750" indent="-285750">
              <a:buFontTx/>
              <a:buChar char="-"/>
            </a:pPr>
            <a:r>
              <a:rPr lang="en-DE" sz="1800" dirty="0"/>
              <a:t>Modules should have low coupling and high </a:t>
            </a:r>
            <a:r>
              <a:rPr lang="en-DE" sz="1800" dirty="0">
                <a:hlinkClick r:id="rId2"/>
              </a:rPr>
              <a:t>cohesion</a:t>
            </a:r>
            <a:endParaRPr lang="en-DE" sz="1800" dirty="0"/>
          </a:p>
          <a:p>
            <a:pPr marL="285750" lvl="1" indent="-285750">
              <a:buFontTx/>
              <a:buChar char="-"/>
            </a:pPr>
            <a:endParaRPr lang="en-DE" sz="1800" dirty="0"/>
          </a:p>
          <a:p>
            <a:pPr marL="285750" indent="-285750">
              <a:buFontTx/>
              <a:buChar char="-"/>
            </a:pPr>
            <a:endParaRPr lang="en-DE" sz="1800" dirty="0"/>
          </a:p>
        </p:txBody>
      </p:sp>
      <p:sp>
        <p:nvSpPr>
          <p:cNvPr id="5" name="Footer Placeholder 4">
            <a:extLst>
              <a:ext uri="{FF2B5EF4-FFF2-40B4-BE49-F238E27FC236}">
                <a16:creationId xmlns:a16="http://schemas.microsoft.com/office/drawing/2014/main" id="{6DD33A59-22AF-20B4-58DC-D18358CD6F00}"/>
              </a:ext>
            </a:extLst>
          </p:cNvPr>
          <p:cNvSpPr>
            <a:spLocks noGrp="1"/>
          </p:cNvSpPr>
          <p:nvPr>
            <p:ph type="ftr" sz="quarter" idx="3"/>
          </p:nvPr>
        </p:nvSpPr>
        <p:spPr/>
        <p:txBody>
          <a:bodyPr/>
          <a:lstStyle/>
          <a:p>
            <a:r>
              <a:rPr lang="de-DE" dirty="0" err="1"/>
              <a:t>Senacor</a:t>
            </a:r>
            <a:r>
              <a:rPr lang="de-DE" dirty="0"/>
              <a:t> Technologies AG</a:t>
            </a:r>
          </a:p>
        </p:txBody>
      </p:sp>
      <p:sp>
        <p:nvSpPr>
          <p:cNvPr id="6" name="Title 5">
            <a:extLst>
              <a:ext uri="{FF2B5EF4-FFF2-40B4-BE49-F238E27FC236}">
                <a16:creationId xmlns:a16="http://schemas.microsoft.com/office/drawing/2014/main" id="{DAF25858-8678-86F5-D68B-7706F6CA4260}"/>
              </a:ext>
            </a:extLst>
          </p:cNvPr>
          <p:cNvSpPr>
            <a:spLocks noGrp="1"/>
          </p:cNvSpPr>
          <p:nvPr>
            <p:ph type="title"/>
          </p:nvPr>
        </p:nvSpPr>
        <p:spPr/>
        <p:txBody>
          <a:bodyPr/>
          <a:lstStyle/>
          <a:p>
            <a:r>
              <a:rPr lang="en-DE" dirty="0"/>
              <a:t>How to write good Code</a:t>
            </a:r>
          </a:p>
        </p:txBody>
      </p:sp>
      <p:sp>
        <p:nvSpPr>
          <p:cNvPr id="7" name="Date Placeholder 6">
            <a:extLst>
              <a:ext uri="{FF2B5EF4-FFF2-40B4-BE49-F238E27FC236}">
                <a16:creationId xmlns:a16="http://schemas.microsoft.com/office/drawing/2014/main" id="{1BFBB169-735C-5799-3E65-2FF241B7226F}"/>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pic>
        <p:nvPicPr>
          <p:cNvPr id="34818" name="Picture 2" descr="enter image description here">
            <a:extLst>
              <a:ext uri="{FF2B5EF4-FFF2-40B4-BE49-F238E27FC236}">
                <a16:creationId xmlns:a16="http://schemas.microsoft.com/office/drawing/2014/main" id="{F89EE44C-289A-E160-CD09-35385FF0F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516" y="3504151"/>
            <a:ext cx="1960323" cy="1960323"/>
          </a:xfrm>
          <a:prstGeom prst="rect">
            <a:avLst/>
          </a:prstGeom>
          <a:noFill/>
          <a:extLst>
            <a:ext uri="{909E8E84-426E-40DD-AFC4-6F175D3DCCD1}">
              <a14:hiddenFill xmlns:a14="http://schemas.microsoft.com/office/drawing/2010/main">
                <a:solidFill>
                  <a:srgbClr val="FFFFFF"/>
                </a:solidFill>
              </a14:hiddenFill>
            </a:ext>
          </a:extLst>
        </p:spPr>
      </p:pic>
      <p:pic>
        <p:nvPicPr>
          <p:cNvPr id="34820" name="Picture 4" descr="enter image description here">
            <a:extLst>
              <a:ext uri="{FF2B5EF4-FFF2-40B4-BE49-F238E27FC236}">
                <a16:creationId xmlns:a16="http://schemas.microsoft.com/office/drawing/2014/main" id="{11AA39AC-7A37-1182-4CDB-CD61047306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1295" y="3504151"/>
            <a:ext cx="1960323" cy="1960323"/>
          </a:xfrm>
          <a:prstGeom prst="rect">
            <a:avLst/>
          </a:prstGeom>
          <a:noFill/>
          <a:extLst>
            <a:ext uri="{909E8E84-426E-40DD-AFC4-6F175D3DCCD1}">
              <a14:hiddenFill xmlns:a14="http://schemas.microsoft.com/office/drawing/2010/main">
                <a:solidFill>
                  <a:srgbClr val="FFFFFF"/>
                </a:solidFill>
              </a14:hiddenFill>
            </a:ext>
          </a:extLst>
        </p:spPr>
      </p:pic>
      <p:pic>
        <p:nvPicPr>
          <p:cNvPr id="34822" name="Picture 6" descr="enter image description here">
            <a:extLst>
              <a:ext uri="{FF2B5EF4-FFF2-40B4-BE49-F238E27FC236}">
                <a16:creationId xmlns:a16="http://schemas.microsoft.com/office/drawing/2014/main" id="{B88BF695-E312-FDF8-D345-21CF974F05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7074" y="3504151"/>
            <a:ext cx="1960323" cy="1960323"/>
          </a:xfrm>
          <a:prstGeom prst="rect">
            <a:avLst/>
          </a:prstGeom>
          <a:noFill/>
          <a:extLst>
            <a:ext uri="{909E8E84-426E-40DD-AFC4-6F175D3DCCD1}">
              <a14:hiddenFill xmlns:a14="http://schemas.microsoft.com/office/drawing/2010/main">
                <a:solidFill>
                  <a:srgbClr val="FFFFFF"/>
                </a:solidFill>
              </a14:hiddenFill>
            </a:ext>
          </a:extLst>
        </p:spPr>
      </p:pic>
      <p:pic>
        <p:nvPicPr>
          <p:cNvPr id="34824" name="Picture 8" descr="enter image description here">
            <a:extLst>
              <a:ext uri="{FF2B5EF4-FFF2-40B4-BE49-F238E27FC236}">
                <a16:creationId xmlns:a16="http://schemas.microsoft.com/office/drawing/2014/main" id="{18BC6A2C-99D4-5143-1F32-064E3DA65B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82853" y="3429000"/>
            <a:ext cx="2035474" cy="203547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B30658-22A1-FB4A-15E4-9644B4B977B2}"/>
              </a:ext>
            </a:extLst>
          </p:cNvPr>
          <p:cNvSpPr txBox="1"/>
          <p:nvPr/>
        </p:nvSpPr>
        <p:spPr>
          <a:xfrm>
            <a:off x="937313" y="5656813"/>
            <a:ext cx="1974900" cy="184666"/>
          </a:xfrm>
          <a:prstGeom prst="rect">
            <a:avLst/>
          </a:prstGeom>
          <a:noFill/>
        </p:spPr>
        <p:txBody>
          <a:bodyPr wrap="none" lIns="0" tIns="0" rIns="0" bIns="0" rtlCol="0">
            <a:spAutoFit/>
          </a:bodyPr>
          <a:lstStyle/>
          <a:p>
            <a:pPr algn="l">
              <a:spcBef>
                <a:spcPts val="400"/>
              </a:spcBef>
              <a:spcAft>
                <a:spcPts val="400"/>
              </a:spcAft>
            </a:pPr>
            <a:r>
              <a:rPr lang="en-US" sz="1200" dirty="0"/>
              <a:t>l</a:t>
            </a:r>
            <a:r>
              <a:rPr lang="en-DE" sz="1200" dirty="0"/>
              <a:t>ow coupling &amp; high cohesion</a:t>
            </a:r>
          </a:p>
        </p:txBody>
      </p:sp>
      <p:sp>
        <p:nvSpPr>
          <p:cNvPr id="9" name="TextBox 8">
            <a:extLst>
              <a:ext uri="{FF2B5EF4-FFF2-40B4-BE49-F238E27FC236}">
                <a16:creationId xmlns:a16="http://schemas.microsoft.com/office/drawing/2014/main" id="{0205EC0A-6935-8C68-74C6-35C09B9DB960}"/>
              </a:ext>
            </a:extLst>
          </p:cNvPr>
          <p:cNvSpPr txBox="1"/>
          <p:nvPr/>
        </p:nvSpPr>
        <p:spPr>
          <a:xfrm>
            <a:off x="3524006" y="5665861"/>
            <a:ext cx="2034211" cy="184666"/>
          </a:xfrm>
          <a:prstGeom prst="rect">
            <a:avLst/>
          </a:prstGeom>
          <a:noFill/>
        </p:spPr>
        <p:txBody>
          <a:bodyPr wrap="none" lIns="0" tIns="0" rIns="0" bIns="0" rtlCol="0">
            <a:spAutoFit/>
          </a:bodyPr>
          <a:lstStyle/>
          <a:p>
            <a:pPr algn="l">
              <a:spcBef>
                <a:spcPts val="400"/>
              </a:spcBef>
              <a:spcAft>
                <a:spcPts val="400"/>
              </a:spcAft>
            </a:pPr>
            <a:r>
              <a:rPr lang="en-US" sz="1200" dirty="0"/>
              <a:t>high</a:t>
            </a:r>
            <a:r>
              <a:rPr lang="en-DE" sz="1200" dirty="0"/>
              <a:t> coupling &amp; high cohesion</a:t>
            </a:r>
          </a:p>
        </p:txBody>
      </p:sp>
      <p:sp>
        <p:nvSpPr>
          <p:cNvPr id="10" name="TextBox 9">
            <a:extLst>
              <a:ext uri="{FF2B5EF4-FFF2-40B4-BE49-F238E27FC236}">
                <a16:creationId xmlns:a16="http://schemas.microsoft.com/office/drawing/2014/main" id="{FA87E80B-E178-959F-5FCD-30CEDFD8693E}"/>
              </a:ext>
            </a:extLst>
          </p:cNvPr>
          <p:cNvSpPr txBox="1"/>
          <p:nvPr/>
        </p:nvSpPr>
        <p:spPr>
          <a:xfrm>
            <a:off x="6079440" y="5656813"/>
            <a:ext cx="1974900" cy="184666"/>
          </a:xfrm>
          <a:prstGeom prst="rect">
            <a:avLst/>
          </a:prstGeom>
          <a:noFill/>
        </p:spPr>
        <p:txBody>
          <a:bodyPr wrap="none" lIns="0" tIns="0" rIns="0" bIns="0" rtlCol="0">
            <a:spAutoFit/>
          </a:bodyPr>
          <a:lstStyle/>
          <a:p>
            <a:pPr algn="l">
              <a:spcBef>
                <a:spcPts val="400"/>
              </a:spcBef>
              <a:spcAft>
                <a:spcPts val="400"/>
              </a:spcAft>
            </a:pPr>
            <a:r>
              <a:rPr lang="en-US" sz="1200" dirty="0"/>
              <a:t>high</a:t>
            </a:r>
            <a:r>
              <a:rPr lang="en-DE" sz="1200" dirty="0"/>
              <a:t> coupling &amp; low cohesion</a:t>
            </a:r>
          </a:p>
        </p:txBody>
      </p:sp>
      <p:sp>
        <p:nvSpPr>
          <p:cNvPr id="11" name="TextBox 10">
            <a:extLst>
              <a:ext uri="{FF2B5EF4-FFF2-40B4-BE49-F238E27FC236}">
                <a16:creationId xmlns:a16="http://schemas.microsoft.com/office/drawing/2014/main" id="{6F554E78-1770-A939-D53E-72152DB6A48B}"/>
              </a:ext>
            </a:extLst>
          </p:cNvPr>
          <p:cNvSpPr txBox="1"/>
          <p:nvPr/>
        </p:nvSpPr>
        <p:spPr>
          <a:xfrm>
            <a:off x="8642795" y="5656813"/>
            <a:ext cx="1915589" cy="184666"/>
          </a:xfrm>
          <a:prstGeom prst="rect">
            <a:avLst/>
          </a:prstGeom>
          <a:noFill/>
        </p:spPr>
        <p:txBody>
          <a:bodyPr wrap="none" lIns="0" tIns="0" rIns="0" bIns="0" rtlCol="0">
            <a:spAutoFit/>
          </a:bodyPr>
          <a:lstStyle/>
          <a:p>
            <a:pPr algn="l">
              <a:spcBef>
                <a:spcPts val="400"/>
              </a:spcBef>
              <a:spcAft>
                <a:spcPts val="400"/>
              </a:spcAft>
            </a:pPr>
            <a:r>
              <a:rPr lang="en-US" sz="1200" dirty="0"/>
              <a:t>low</a:t>
            </a:r>
            <a:r>
              <a:rPr lang="en-DE" sz="1200" dirty="0"/>
              <a:t> coupling &amp; low cohesion</a:t>
            </a:r>
          </a:p>
        </p:txBody>
      </p:sp>
    </p:spTree>
    <p:extLst>
      <p:ext uri="{BB962C8B-B14F-4D97-AF65-F5344CB8AC3E}">
        <p14:creationId xmlns:p14="http://schemas.microsoft.com/office/powerpoint/2010/main" val="1450145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B1F4B1-599B-EFE7-4EE0-A06C0302BB6C}"/>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12</a:t>
            </a:fld>
            <a:endParaRPr lang="de-DE"/>
          </a:p>
        </p:txBody>
      </p:sp>
      <p:sp>
        <p:nvSpPr>
          <p:cNvPr id="3" name="Text Placeholder 2">
            <a:extLst>
              <a:ext uri="{FF2B5EF4-FFF2-40B4-BE49-F238E27FC236}">
                <a16:creationId xmlns:a16="http://schemas.microsoft.com/office/drawing/2014/main" id="{E9FCF7C8-C340-0739-0480-B8F7F2B2A5A1}"/>
              </a:ext>
            </a:extLst>
          </p:cNvPr>
          <p:cNvSpPr>
            <a:spLocks noGrp="1"/>
          </p:cNvSpPr>
          <p:nvPr>
            <p:ph type="body" sz="quarter" idx="15"/>
          </p:nvPr>
        </p:nvSpPr>
        <p:spPr>
          <a:xfrm>
            <a:off x="479424" y="340366"/>
            <a:ext cx="9509760" cy="246221"/>
          </a:xfrm>
        </p:spPr>
        <p:txBody>
          <a:bodyPr wrap="square" anchor="b">
            <a:normAutofit/>
          </a:bodyPr>
          <a:lstStyle/>
          <a:p>
            <a:pPr>
              <a:spcAft>
                <a:spcPts val="600"/>
              </a:spcAft>
            </a:pPr>
            <a:r>
              <a:rPr lang="en-US" dirty="0"/>
              <a:t>Test driven development</a:t>
            </a:r>
            <a:endParaRPr lang="en-US"/>
          </a:p>
        </p:txBody>
      </p:sp>
      <p:sp>
        <p:nvSpPr>
          <p:cNvPr id="4" name="Content Placeholder 3">
            <a:extLst>
              <a:ext uri="{FF2B5EF4-FFF2-40B4-BE49-F238E27FC236}">
                <a16:creationId xmlns:a16="http://schemas.microsoft.com/office/drawing/2014/main" id="{3C8DA345-E729-3092-A17C-372EB9D23D5C}"/>
              </a:ext>
            </a:extLst>
          </p:cNvPr>
          <p:cNvSpPr>
            <a:spLocks noGrp="1"/>
          </p:cNvSpPr>
          <p:nvPr>
            <p:ph sz="quarter" idx="17"/>
          </p:nvPr>
        </p:nvSpPr>
        <p:spPr>
          <a:xfrm>
            <a:off x="479424" y="1775816"/>
            <a:ext cx="5376672" cy="4507992"/>
          </a:xfrm>
        </p:spPr>
        <p:txBody>
          <a:bodyPr>
            <a:normAutofit/>
          </a:bodyPr>
          <a:lstStyle/>
          <a:p>
            <a:pPr marL="285750" indent="-285750">
              <a:buFontTx/>
              <a:buChar char="-"/>
            </a:pPr>
            <a:r>
              <a:rPr lang="en-US"/>
              <a:t>W</a:t>
            </a:r>
            <a:r>
              <a:rPr lang="en-DE"/>
              <a:t>rite test</a:t>
            </a:r>
          </a:p>
          <a:p>
            <a:pPr marL="285750" indent="-285750">
              <a:buFontTx/>
              <a:buChar char="-"/>
            </a:pPr>
            <a:r>
              <a:rPr lang="en-US"/>
              <a:t>D</a:t>
            </a:r>
            <a:r>
              <a:rPr lang="en-DE"/>
              <a:t>efine API and behavior</a:t>
            </a:r>
          </a:p>
          <a:p>
            <a:pPr marL="285750" indent="-285750">
              <a:buFontTx/>
              <a:buChar char="-"/>
            </a:pPr>
            <a:r>
              <a:rPr lang="en-US"/>
              <a:t>T</a:t>
            </a:r>
            <a:r>
              <a:rPr lang="en-DE"/>
              <a:t>est must fail</a:t>
            </a:r>
          </a:p>
          <a:p>
            <a:pPr marL="285750" indent="-285750">
              <a:buFontTx/>
              <a:buChar char="-"/>
            </a:pPr>
            <a:endParaRPr lang="en-DE"/>
          </a:p>
        </p:txBody>
      </p:sp>
      <p:pic>
        <p:nvPicPr>
          <p:cNvPr id="9" name="Picture 2" descr="test-driven-development-TDD">
            <a:extLst>
              <a:ext uri="{FF2B5EF4-FFF2-40B4-BE49-F238E27FC236}">
                <a16:creationId xmlns:a16="http://schemas.microsoft.com/office/drawing/2014/main" id="{B5299C7F-4BF1-A7EC-9966-CE402AF5E5E4}"/>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5735" b="90000" l="9961" r="89941">
                        <a14:foregroundMark x1="36914" y1="17941" x2="56152" y2="13971"/>
                        <a14:foregroundMark x1="56152" y1="13971" x2="58984" y2="13971"/>
                        <a14:foregroundMark x1="50879" y1="5735" x2="50879" y2="5735"/>
                      </a14:backgroundRemoval>
                    </a14:imgEffect>
                  </a14:imgLayer>
                </a14:imgProps>
              </a:ext>
              <a:ext uri="{28A0092B-C50C-407E-A947-70E740481C1C}">
                <a14:useLocalDpi xmlns:a14="http://schemas.microsoft.com/office/drawing/2010/main" val="0"/>
              </a:ext>
            </a:extLst>
          </a:blip>
          <a:stretch>
            <a:fillRect/>
          </a:stretch>
        </p:blipFill>
        <p:spPr bwMode="auto">
          <a:xfrm>
            <a:off x="6335902" y="2244589"/>
            <a:ext cx="5376672" cy="3570446"/>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14570265-FFC7-8836-8EFB-BDF6BC6CC303}"/>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6" name="Title 5">
            <a:extLst>
              <a:ext uri="{FF2B5EF4-FFF2-40B4-BE49-F238E27FC236}">
                <a16:creationId xmlns:a16="http://schemas.microsoft.com/office/drawing/2014/main" id="{C3E3EE42-B0B1-4878-06F3-4B61C1CF171B}"/>
              </a:ext>
            </a:extLst>
          </p:cNvPr>
          <p:cNvSpPr>
            <a:spLocks noGrp="1"/>
          </p:cNvSpPr>
          <p:nvPr>
            <p:ph type="title"/>
          </p:nvPr>
        </p:nvSpPr>
        <p:spPr>
          <a:xfrm>
            <a:off x="479425" y="789413"/>
            <a:ext cx="11233150" cy="609398"/>
          </a:xfrm>
        </p:spPr>
        <p:txBody>
          <a:bodyPr wrap="square" anchor="t">
            <a:normAutofit/>
          </a:bodyPr>
          <a:lstStyle/>
          <a:p>
            <a:r>
              <a:rPr lang="en-DE" dirty="0"/>
              <a:t>Red Phase</a:t>
            </a:r>
          </a:p>
        </p:txBody>
      </p:sp>
      <p:sp>
        <p:nvSpPr>
          <p:cNvPr id="7" name="Date Placeholder 6">
            <a:extLst>
              <a:ext uri="{FF2B5EF4-FFF2-40B4-BE49-F238E27FC236}">
                <a16:creationId xmlns:a16="http://schemas.microsoft.com/office/drawing/2014/main" id="{C89E3A77-5B38-9E67-0BBF-A409900B262E}"/>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spTree>
    <p:extLst>
      <p:ext uri="{BB962C8B-B14F-4D97-AF65-F5344CB8AC3E}">
        <p14:creationId xmlns:p14="http://schemas.microsoft.com/office/powerpoint/2010/main" val="1120872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B1F4B1-599B-EFE7-4EE0-A06C0302BB6C}"/>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13</a:t>
            </a:fld>
            <a:endParaRPr lang="de-DE"/>
          </a:p>
        </p:txBody>
      </p:sp>
      <p:sp>
        <p:nvSpPr>
          <p:cNvPr id="3" name="Text Placeholder 2">
            <a:extLst>
              <a:ext uri="{FF2B5EF4-FFF2-40B4-BE49-F238E27FC236}">
                <a16:creationId xmlns:a16="http://schemas.microsoft.com/office/drawing/2014/main" id="{E9FCF7C8-C340-0739-0480-B8F7F2B2A5A1}"/>
              </a:ext>
            </a:extLst>
          </p:cNvPr>
          <p:cNvSpPr>
            <a:spLocks noGrp="1"/>
          </p:cNvSpPr>
          <p:nvPr>
            <p:ph type="body" sz="quarter" idx="15"/>
          </p:nvPr>
        </p:nvSpPr>
        <p:spPr>
          <a:xfrm>
            <a:off x="479424" y="340366"/>
            <a:ext cx="9509760" cy="246221"/>
          </a:xfrm>
        </p:spPr>
        <p:txBody>
          <a:bodyPr wrap="square" anchor="b">
            <a:normAutofit/>
          </a:bodyPr>
          <a:lstStyle/>
          <a:p>
            <a:pPr>
              <a:spcAft>
                <a:spcPts val="600"/>
              </a:spcAft>
            </a:pPr>
            <a:r>
              <a:rPr lang="en-US" dirty="0"/>
              <a:t>Test driven development</a:t>
            </a:r>
            <a:endParaRPr lang="en-US"/>
          </a:p>
        </p:txBody>
      </p:sp>
      <p:sp>
        <p:nvSpPr>
          <p:cNvPr id="4" name="Content Placeholder 3">
            <a:extLst>
              <a:ext uri="{FF2B5EF4-FFF2-40B4-BE49-F238E27FC236}">
                <a16:creationId xmlns:a16="http://schemas.microsoft.com/office/drawing/2014/main" id="{3C8DA345-E729-3092-A17C-372EB9D23D5C}"/>
              </a:ext>
            </a:extLst>
          </p:cNvPr>
          <p:cNvSpPr>
            <a:spLocks noGrp="1"/>
          </p:cNvSpPr>
          <p:nvPr>
            <p:ph sz="quarter" idx="17"/>
          </p:nvPr>
        </p:nvSpPr>
        <p:spPr>
          <a:xfrm>
            <a:off x="479424" y="1775816"/>
            <a:ext cx="5376672" cy="4507992"/>
          </a:xfrm>
        </p:spPr>
        <p:txBody>
          <a:bodyPr>
            <a:normAutofit/>
          </a:bodyPr>
          <a:lstStyle/>
          <a:p>
            <a:pPr marL="285750" indent="-285750">
              <a:buFontTx/>
              <a:buChar char="-"/>
            </a:pPr>
            <a:r>
              <a:rPr lang="de-DE" err="1"/>
              <a:t>Make</a:t>
            </a:r>
            <a:r>
              <a:rPr lang="de-DE"/>
              <a:t> </a:t>
            </a:r>
            <a:r>
              <a:rPr lang="de-DE" err="1"/>
              <a:t>test</a:t>
            </a:r>
            <a:r>
              <a:rPr lang="de-DE"/>
              <a:t> </a:t>
            </a:r>
            <a:r>
              <a:rPr lang="de-DE" err="1"/>
              <a:t>run</a:t>
            </a:r>
            <a:r>
              <a:rPr lang="de-DE"/>
              <a:t> </a:t>
            </a:r>
            <a:r>
              <a:rPr lang="de-DE" err="1"/>
              <a:t>successful</a:t>
            </a:r>
            <a:endParaRPr lang="en-DE"/>
          </a:p>
          <a:p>
            <a:pPr marL="285750" indent="-285750">
              <a:buFontTx/>
              <a:buChar char="-"/>
            </a:pPr>
            <a:r>
              <a:rPr lang="de-DE"/>
              <a:t>Do not care at all </a:t>
            </a:r>
            <a:r>
              <a:rPr lang="de-DE" err="1"/>
              <a:t>about</a:t>
            </a:r>
            <a:r>
              <a:rPr lang="de-DE"/>
              <a:t> clean code</a:t>
            </a:r>
            <a:endParaRPr lang="en-DE"/>
          </a:p>
          <a:p>
            <a:pPr marL="285750" indent="-285750">
              <a:buFontTx/>
              <a:buChar char="-"/>
            </a:pPr>
            <a:r>
              <a:rPr lang="de-DE"/>
              <a:t>Do not </a:t>
            </a:r>
            <a:r>
              <a:rPr lang="de-DE" err="1"/>
              <a:t>use</a:t>
            </a:r>
            <a:r>
              <a:rPr lang="de-DE"/>
              <a:t> </a:t>
            </a:r>
            <a:r>
              <a:rPr lang="de-DE" err="1"/>
              <a:t>patterns</a:t>
            </a:r>
            <a:r>
              <a:rPr lang="de-DE"/>
              <a:t> </a:t>
            </a:r>
            <a:r>
              <a:rPr lang="de-DE" err="1"/>
              <a:t>or</a:t>
            </a:r>
            <a:r>
              <a:rPr lang="de-DE"/>
              <a:t> </a:t>
            </a:r>
            <a:r>
              <a:rPr lang="de-DE" err="1"/>
              <a:t>rules</a:t>
            </a:r>
            <a:r>
              <a:rPr lang="de-DE"/>
              <a:t> like DRY</a:t>
            </a:r>
          </a:p>
          <a:p>
            <a:pPr marL="285750" indent="-285750">
              <a:buFontTx/>
              <a:buChar char="-"/>
            </a:pPr>
            <a:r>
              <a:rPr lang="de-DE"/>
              <a:t>Write </a:t>
            </a:r>
            <a:r>
              <a:rPr lang="de-DE" err="1"/>
              <a:t>most</a:t>
            </a:r>
            <a:r>
              <a:rPr lang="de-DE"/>
              <a:t> minimal code </a:t>
            </a:r>
            <a:r>
              <a:rPr lang="de-DE" err="1"/>
              <a:t>the</a:t>
            </a:r>
            <a:r>
              <a:rPr lang="de-DE"/>
              <a:t> </a:t>
            </a:r>
            <a:r>
              <a:rPr lang="de-DE" err="1"/>
              <a:t>get</a:t>
            </a:r>
            <a:r>
              <a:rPr lang="de-DE"/>
              <a:t> </a:t>
            </a:r>
            <a:r>
              <a:rPr lang="de-DE" err="1"/>
              <a:t>the</a:t>
            </a:r>
            <a:r>
              <a:rPr lang="de-DE"/>
              <a:t> </a:t>
            </a:r>
            <a:r>
              <a:rPr lang="de-DE" err="1"/>
              <a:t>test</a:t>
            </a:r>
            <a:r>
              <a:rPr lang="de-DE"/>
              <a:t> </a:t>
            </a:r>
            <a:r>
              <a:rPr lang="de-DE" err="1"/>
              <a:t>green</a:t>
            </a:r>
            <a:endParaRPr lang="de-DE"/>
          </a:p>
          <a:p>
            <a:pPr marL="285750" indent="-285750">
              <a:buFontTx/>
              <a:buChar char="-"/>
            </a:pPr>
            <a:endParaRPr lang="de-DE"/>
          </a:p>
          <a:p>
            <a:r>
              <a:rPr lang="de-DE"/>
              <a:t>Developers </a:t>
            </a:r>
            <a:r>
              <a:rPr lang="de-DE" err="1"/>
              <a:t>tend</a:t>
            </a:r>
            <a:r>
              <a:rPr lang="de-DE"/>
              <a:t> </a:t>
            </a:r>
            <a:r>
              <a:rPr lang="de-DE" err="1"/>
              <a:t>to</a:t>
            </a:r>
            <a:r>
              <a:rPr lang="de-DE"/>
              <a:t> </a:t>
            </a:r>
            <a:r>
              <a:rPr lang="de-DE" err="1"/>
              <a:t>either</a:t>
            </a:r>
            <a:r>
              <a:rPr lang="de-DE"/>
              <a:t> </a:t>
            </a:r>
            <a:r>
              <a:rPr lang="de-DE" err="1"/>
              <a:t>over</a:t>
            </a:r>
            <a:r>
              <a:rPr lang="de-DE"/>
              <a:t> </a:t>
            </a:r>
            <a:r>
              <a:rPr lang="de-DE" err="1"/>
              <a:t>engineer</a:t>
            </a:r>
            <a:r>
              <a:rPr lang="de-DE"/>
              <a:t> </a:t>
            </a:r>
            <a:r>
              <a:rPr lang="de-DE" err="1"/>
              <a:t>or</a:t>
            </a:r>
            <a:r>
              <a:rPr lang="de-DE"/>
              <a:t> </a:t>
            </a:r>
            <a:r>
              <a:rPr lang="de-DE" err="1"/>
              <a:t>stay</a:t>
            </a:r>
            <a:r>
              <a:rPr lang="de-DE"/>
              <a:t> in </a:t>
            </a:r>
            <a:r>
              <a:rPr lang="en-US">
                <a:effectLst/>
              </a:rPr>
              <a:t>analysis paralysis.</a:t>
            </a:r>
          </a:p>
          <a:p>
            <a:r>
              <a:rPr lang="de-DE"/>
              <a:t> </a:t>
            </a:r>
            <a:endParaRPr lang="en-DE"/>
          </a:p>
          <a:p>
            <a:pPr marL="285750" indent="-285750">
              <a:buFontTx/>
              <a:buChar char="-"/>
            </a:pPr>
            <a:endParaRPr lang="en-DE"/>
          </a:p>
        </p:txBody>
      </p:sp>
      <p:pic>
        <p:nvPicPr>
          <p:cNvPr id="10" name="Picture 2" descr="test-driven-development-TDD">
            <a:extLst>
              <a:ext uri="{FF2B5EF4-FFF2-40B4-BE49-F238E27FC236}">
                <a16:creationId xmlns:a16="http://schemas.microsoft.com/office/drawing/2014/main" id="{DBF49747-477C-C47D-909B-B3EC06B0A091}"/>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foregroundMark x1="76172" y1="48235" x2="72461" y2="64118"/>
                        <a14:foregroundMark x1="72461" y1="64118" x2="64160" y2="81765"/>
                        <a14:backgroundMark x1="24609" y1="44706" x2="24609" y2="59853"/>
                        <a14:backgroundMark x1="24609" y1="59853" x2="28906" y2="72206"/>
                        <a14:backgroundMark x1="28906" y1="72206" x2="33398" y2="76765"/>
                      </a14:backgroundRemoval>
                    </a14:imgEffect>
                  </a14:imgLayer>
                </a14:imgProps>
              </a:ext>
              <a:ext uri="{28A0092B-C50C-407E-A947-70E740481C1C}">
                <a14:useLocalDpi xmlns:a14="http://schemas.microsoft.com/office/drawing/2010/main" val="0"/>
              </a:ext>
            </a:extLst>
          </a:blip>
          <a:stretch>
            <a:fillRect/>
          </a:stretch>
        </p:blipFill>
        <p:spPr bwMode="auto">
          <a:xfrm>
            <a:off x="6335902" y="2244589"/>
            <a:ext cx="5376672" cy="3570446"/>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14570265-FFC7-8836-8EFB-BDF6BC6CC303}"/>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6" name="Title 5">
            <a:extLst>
              <a:ext uri="{FF2B5EF4-FFF2-40B4-BE49-F238E27FC236}">
                <a16:creationId xmlns:a16="http://schemas.microsoft.com/office/drawing/2014/main" id="{C3E3EE42-B0B1-4878-06F3-4B61C1CF171B}"/>
              </a:ext>
            </a:extLst>
          </p:cNvPr>
          <p:cNvSpPr>
            <a:spLocks noGrp="1"/>
          </p:cNvSpPr>
          <p:nvPr>
            <p:ph type="title"/>
          </p:nvPr>
        </p:nvSpPr>
        <p:spPr>
          <a:xfrm>
            <a:off x="479425" y="789413"/>
            <a:ext cx="11233150" cy="609398"/>
          </a:xfrm>
        </p:spPr>
        <p:txBody>
          <a:bodyPr wrap="square" anchor="t">
            <a:normAutofit/>
          </a:bodyPr>
          <a:lstStyle/>
          <a:p>
            <a:r>
              <a:rPr lang="en-DE" dirty="0"/>
              <a:t>Green Phase</a:t>
            </a:r>
          </a:p>
        </p:txBody>
      </p:sp>
      <p:sp>
        <p:nvSpPr>
          <p:cNvPr id="7" name="Date Placeholder 6">
            <a:extLst>
              <a:ext uri="{FF2B5EF4-FFF2-40B4-BE49-F238E27FC236}">
                <a16:creationId xmlns:a16="http://schemas.microsoft.com/office/drawing/2014/main" id="{C89E3A77-5B38-9E67-0BBF-A409900B262E}"/>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spTree>
    <p:extLst>
      <p:ext uri="{BB962C8B-B14F-4D97-AF65-F5344CB8AC3E}">
        <p14:creationId xmlns:p14="http://schemas.microsoft.com/office/powerpoint/2010/main" val="4129237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B1F4B1-599B-EFE7-4EE0-A06C0302BB6C}"/>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14</a:t>
            </a:fld>
            <a:endParaRPr lang="de-DE"/>
          </a:p>
        </p:txBody>
      </p:sp>
      <p:sp>
        <p:nvSpPr>
          <p:cNvPr id="3" name="Text Placeholder 2">
            <a:extLst>
              <a:ext uri="{FF2B5EF4-FFF2-40B4-BE49-F238E27FC236}">
                <a16:creationId xmlns:a16="http://schemas.microsoft.com/office/drawing/2014/main" id="{E9FCF7C8-C340-0739-0480-B8F7F2B2A5A1}"/>
              </a:ext>
            </a:extLst>
          </p:cNvPr>
          <p:cNvSpPr>
            <a:spLocks noGrp="1"/>
          </p:cNvSpPr>
          <p:nvPr>
            <p:ph type="body" sz="quarter" idx="15"/>
          </p:nvPr>
        </p:nvSpPr>
        <p:spPr>
          <a:xfrm>
            <a:off x="479424" y="340366"/>
            <a:ext cx="9509760" cy="246221"/>
          </a:xfrm>
        </p:spPr>
        <p:txBody>
          <a:bodyPr wrap="square" anchor="b">
            <a:normAutofit/>
          </a:bodyPr>
          <a:lstStyle/>
          <a:p>
            <a:pPr>
              <a:spcAft>
                <a:spcPts val="600"/>
              </a:spcAft>
            </a:pPr>
            <a:r>
              <a:rPr lang="en-US" dirty="0"/>
              <a:t>Test driven development</a:t>
            </a:r>
          </a:p>
        </p:txBody>
      </p:sp>
      <p:sp>
        <p:nvSpPr>
          <p:cNvPr id="4" name="Content Placeholder 3">
            <a:extLst>
              <a:ext uri="{FF2B5EF4-FFF2-40B4-BE49-F238E27FC236}">
                <a16:creationId xmlns:a16="http://schemas.microsoft.com/office/drawing/2014/main" id="{3C8DA345-E729-3092-A17C-372EB9D23D5C}"/>
              </a:ext>
            </a:extLst>
          </p:cNvPr>
          <p:cNvSpPr>
            <a:spLocks noGrp="1"/>
          </p:cNvSpPr>
          <p:nvPr>
            <p:ph sz="quarter" idx="17"/>
          </p:nvPr>
        </p:nvSpPr>
        <p:spPr>
          <a:xfrm>
            <a:off x="479424" y="1775816"/>
            <a:ext cx="5376672" cy="4507992"/>
          </a:xfrm>
        </p:spPr>
        <p:txBody>
          <a:bodyPr>
            <a:normAutofit/>
          </a:bodyPr>
          <a:lstStyle/>
          <a:p>
            <a:pPr marL="285750" indent="-285750">
              <a:buFontTx/>
              <a:buChar char="-"/>
            </a:pPr>
            <a:r>
              <a:rPr lang="de-DE"/>
              <a:t>Kent Beck </a:t>
            </a:r>
            <a:r>
              <a:rPr lang="de-DE" err="1"/>
              <a:t>said</a:t>
            </a:r>
            <a:r>
              <a:rPr lang="de-DE"/>
              <a:t>: „</a:t>
            </a:r>
            <a:r>
              <a:rPr lang="de-DE" err="1"/>
              <a:t>remove</a:t>
            </a:r>
            <a:r>
              <a:rPr lang="de-DE"/>
              <a:t> </a:t>
            </a:r>
            <a:r>
              <a:rPr lang="de-DE" err="1"/>
              <a:t>duplicates</a:t>
            </a:r>
            <a:r>
              <a:rPr lang="de-DE"/>
              <a:t>“</a:t>
            </a:r>
          </a:p>
          <a:p>
            <a:pPr marL="285750" indent="-285750">
              <a:buFontTx/>
              <a:buChar char="-"/>
            </a:pPr>
            <a:r>
              <a:rPr lang="de-DE">
                <a:effectLst/>
              </a:rPr>
              <a:t>Rule </a:t>
            </a:r>
            <a:r>
              <a:rPr lang="de-DE" err="1">
                <a:effectLst/>
              </a:rPr>
              <a:t>of</a:t>
            </a:r>
            <a:r>
              <a:rPr lang="de-DE">
                <a:effectLst/>
              </a:rPr>
              <a:t> </a:t>
            </a:r>
            <a:r>
              <a:rPr lang="de-DE" err="1">
                <a:effectLst/>
              </a:rPr>
              <a:t>three</a:t>
            </a:r>
            <a:endParaRPr lang="de-DE">
              <a:effectLst/>
            </a:endParaRPr>
          </a:p>
          <a:p>
            <a:pPr marL="285750" indent="-285750">
              <a:buFontTx/>
              <a:buChar char="-"/>
            </a:pPr>
            <a:r>
              <a:rPr lang="de-DE"/>
              <a:t>Think </a:t>
            </a:r>
            <a:r>
              <a:rPr lang="de-DE" err="1"/>
              <a:t>about</a:t>
            </a:r>
            <a:r>
              <a:rPr lang="de-DE"/>
              <a:t> </a:t>
            </a:r>
            <a:r>
              <a:rPr lang="de-DE" err="1"/>
              <a:t>usefull</a:t>
            </a:r>
            <a:r>
              <a:rPr lang="de-DE"/>
              <a:t> </a:t>
            </a:r>
            <a:r>
              <a:rPr lang="de-DE" err="1"/>
              <a:t>patterns</a:t>
            </a:r>
            <a:r>
              <a:rPr lang="de-DE"/>
              <a:t> and </a:t>
            </a:r>
            <a:r>
              <a:rPr lang="de-DE" err="1"/>
              <a:t>abstractions</a:t>
            </a:r>
            <a:endParaRPr lang="de-DE"/>
          </a:p>
          <a:p>
            <a:pPr marL="285750" indent="-285750">
              <a:buFontTx/>
              <a:buChar char="-"/>
            </a:pPr>
            <a:r>
              <a:rPr lang="de-DE">
                <a:effectLst/>
              </a:rPr>
              <a:t>Do not </a:t>
            </a:r>
            <a:r>
              <a:rPr lang="de-DE" err="1">
                <a:effectLst/>
              </a:rPr>
              <a:t>write</a:t>
            </a:r>
            <a:r>
              <a:rPr lang="de-DE">
                <a:effectLst/>
              </a:rPr>
              <a:t> </a:t>
            </a:r>
            <a:r>
              <a:rPr lang="de-DE" err="1">
                <a:effectLst/>
              </a:rPr>
              <a:t>new</a:t>
            </a:r>
            <a:r>
              <a:rPr lang="de-DE">
                <a:effectLst/>
              </a:rPr>
              <a:t> </a:t>
            </a:r>
            <a:r>
              <a:rPr lang="de-DE" err="1">
                <a:effectLst/>
              </a:rPr>
              <a:t>tests</a:t>
            </a:r>
            <a:r>
              <a:rPr lang="de-DE">
                <a:effectLst/>
              </a:rPr>
              <a:t> (</a:t>
            </a:r>
            <a:r>
              <a:rPr lang="de-DE" err="1">
                <a:effectLst/>
              </a:rPr>
              <a:t>remember</a:t>
            </a:r>
            <a:r>
              <a:rPr lang="de-DE">
                <a:effectLst/>
              </a:rPr>
              <a:t> </a:t>
            </a:r>
            <a:r>
              <a:rPr lang="de-DE" err="1">
                <a:effectLst/>
              </a:rPr>
              <a:t>to</a:t>
            </a:r>
            <a:r>
              <a:rPr lang="de-DE">
                <a:effectLst/>
              </a:rPr>
              <a:t> </a:t>
            </a:r>
            <a:r>
              <a:rPr lang="de-DE" err="1">
                <a:effectLst/>
              </a:rPr>
              <a:t>only</a:t>
            </a:r>
            <a:r>
              <a:rPr lang="de-DE">
                <a:effectLst/>
              </a:rPr>
              <a:t> </a:t>
            </a:r>
            <a:r>
              <a:rPr lang="de-DE" err="1">
                <a:effectLst/>
              </a:rPr>
              <a:t>write</a:t>
            </a:r>
            <a:r>
              <a:rPr lang="de-DE">
                <a:effectLst/>
              </a:rPr>
              <a:t> </a:t>
            </a:r>
            <a:r>
              <a:rPr lang="de-DE" err="1">
                <a:effectLst/>
              </a:rPr>
              <a:t>new</a:t>
            </a:r>
            <a:r>
              <a:rPr lang="de-DE">
                <a:effectLst/>
              </a:rPr>
              <a:t> </a:t>
            </a:r>
            <a:r>
              <a:rPr lang="de-DE" err="1">
                <a:effectLst/>
              </a:rPr>
              <a:t>tests</a:t>
            </a:r>
            <a:r>
              <a:rPr lang="de-DE">
                <a:effectLst/>
              </a:rPr>
              <a:t> </a:t>
            </a:r>
            <a:r>
              <a:rPr lang="de-DE" err="1">
                <a:effectLst/>
              </a:rPr>
              <a:t>for</a:t>
            </a:r>
            <a:r>
              <a:rPr lang="de-DE">
                <a:effectLst/>
              </a:rPr>
              <a:t> </a:t>
            </a:r>
            <a:r>
              <a:rPr lang="de-DE" err="1">
                <a:effectLst/>
              </a:rPr>
              <a:t>new</a:t>
            </a:r>
            <a:r>
              <a:rPr lang="de-DE">
                <a:effectLst/>
              </a:rPr>
              <a:t> </a:t>
            </a:r>
            <a:r>
              <a:rPr lang="de-DE" err="1">
                <a:effectLst/>
              </a:rPr>
              <a:t>requirements</a:t>
            </a:r>
            <a:r>
              <a:rPr lang="de-DE">
                <a:effectLst/>
              </a:rPr>
              <a:t>)</a:t>
            </a:r>
            <a:endParaRPr lang="en-US">
              <a:effectLst/>
            </a:endParaRPr>
          </a:p>
          <a:p>
            <a:r>
              <a:rPr lang="de-DE"/>
              <a:t> </a:t>
            </a:r>
            <a:endParaRPr lang="en-DE"/>
          </a:p>
          <a:p>
            <a:pPr marL="285750" indent="-285750">
              <a:buFontTx/>
              <a:buChar char="-"/>
            </a:pPr>
            <a:endParaRPr lang="en-DE"/>
          </a:p>
        </p:txBody>
      </p:sp>
      <p:pic>
        <p:nvPicPr>
          <p:cNvPr id="8" name="Picture 2" descr="test-driven-development-TDD">
            <a:extLst>
              <a:ext uri="{FF2B5EF4-FFF2-40B4-BE49-F238E27FC236}">
                <a16:creationId xmlns:a16="http://schemas.microsoft.com/office/drawing/2014/main" id="{6669ABBB-23C8-AB93-3244-565A9F62E27D}"/>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2794" l="9961" r="89941">
                        <a14:foregroundMark x1="42090" y1="88529" x2="44531" y2="92794"/>
                      </a14:backgroundRemoval>
                    </a14:imgEffect>
                  </a14:imgLayer>
                </a14:imgProps>
              </a:ext>
              <a:ext uri="{28A0092B-C50C-407E-A947-70E740481C1C}">
                <a14:useLocalDpi xmlns:a14="http://schemas.microsoft.com/office/drawing/2010/main" val="0"/>
              </a:ext>
            </a:extLst>
          </a:blip>
          <a:stretch>
            <a:fillRect/>
          </a:stretch>
        </p:blipFill>
        <p:spPr bwMode="auto">
          <a:xfrm>
            <a:off x="6335902" y="2244589"/>
            <a:ext cx="5376672" cy="3570446"/>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14570265-FFC7-8836-8EFB-BDF6BC6CC303}"/>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6" name="Title 5">
            <a:extLst>
              <a:ext uri="{FF2B5EF4-FFF2-40B4-BE49-F238E27FC236}">
                <a16:creationId xmlns:a16="http://schemas.microsoft.com/office/drawing/2014/main" id="{C3E3EE42-B0B1-4878-06F3-4B61C1CF171B}"/>
              </a:ext>
            </a:extLst>
          </p:cNvPr>
          <p:cNvSpPr>
            <a:spLocks noGrp="1"/>
          </p:cNvSpPr>
          <p:nvPr>
            <p:ph type="title"/>
          </p:nvPr>
        </p:nvSpPr>
        <p:spPr>
          <a:xfrm>
            <a:off x="479425" y="789413"/>
            <a:ext cx="11233150" cy="609398"/>
          </a:xfrm>
        </p:spPr>
        <p:txBody>
          <a:bodyPr wrap="square" anchor="t">
            <a:normAutofit/>
          </a:bodyPr>
          <a:lstStyle/>
          <a:p>
            <a:r>
              <a:rPr lang="en-DE" dirty="0"/>
              <a:t>Refactor Phase</a:t>
            </a:r>
          </a:p>
        </p:txBody>
      </p:sp>
      <p:sp>
        <p:nvSpPr>
          <p:cNvPr id="7" name="Date Placeholder 6">
            <a:extLst>
              <a:ext uri="{FF2B5EF4-FFF2-40B4-BE49-F238E27FC236}">
                <a16:creationId xmlns:a16="http://schemas.microsoft.com/office/drawing/2014/main" id="{C89E3A77-5B38-9E67-0BBF-A409900B262E}"/>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spTree>
    <p:extLst>
      <p:ext uri="{BB962C8B-B14F-4D97-AF65-F5344CB8AC3E}">
        <p14:creationId xmlns:p14="http://schemas.microsoft.com/office/powerpoint/2010/main" val="3928802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EE116E-DE8C-A783-E605-9C5C927C6EE9}"/>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15</a:t>
            </a:fld>
            <a:endParaRPr lang="de-DE"/>
          </a:p>
        </p:txBody>
      </p:sp>
      <p:sp>
        <p:nvSpPr>
          <p:cNvPr id="3" name="Text Placeholder 2">
            <a:extLst>
              <a:ext uri="{FF2B5EF4-FFF2-40B4-BE49-F238E27FC236}">
                <a16:creationId xmlns:a16="http://schemas.microsoft.com/office/drawing/2014/main" id="{EB9973D6-3C5B-CA7D-C28A-D35CE2BDDB2C}"/>
              </a:ext>
            </a:extLst>
          </p:cNvPr>
          <p:cNvSpPr>
            <a:spLocks noGrp="1"/>
          </p:cNvSpPr>
          <p:nvPr>
            <p:ph type="body" sz="quarter" idx="15"/>
          </p:nvPr>
        </p:nvSpPr>
        <p:spPr>
          <a:xfrm>
            <a:off x="479424" y="340366"/>
            <a:ext cx="9509760" cy="246221"/>
          </a:xfrm>
        </p:spPr>
        <p:txBody>
          <a:bodyPr wrap="square" anchor="b">
            <a:normAutofit/>
          </a:bodyPr>
          <a:lstStyle/>
          <a:p>
            <a:pPr>
              <a:spcAft>
                <a:spcPts val="600"/>
              </a:spcAft>
            </a:pPr>
            <a:r>
              <a:rPr lang="en-DE" dirty="0"/>
              <a:t>Coding case</a:t>
            </a:r>
          </a:p>
        </p:txBody>
      </p:sp>
      <p:sp>
        <p:nvSpPr>
          <p:cNvPr id="38919" name="Content Placeholder 3">
            <a:extLst>
              <a:ext uri="{FF2B5EF4-FFF2-40B4-BE49-F238E27FC236}">
                <a16:creationId xmlns:a16="http://schemas.microsoft.com/office/drawing/2014/main" id="{69B2C05D-378E-F951-D317-400AA6221C12}"/>
              </a:ext>
            </a:extLst>
          </p:cNvPr>
          <p:cNvSpPr>
            <a:spLocks noGrp="1"/>
          </p:cNvSpPr>
          <p:nvPr>
            <p:ph sz="quarter" idx="17"/>
          </p:nvPr>
        </p:nvSpPr>
        <p:spPr>
          <a:xfrm>
            <a:off x="479424" y="1775816"/>
            <a:ext cx="5376672" cy="4507992"/>
          </a:xfrm>
        </p:spPr>
        <p:txBody>
          <a:bodyPr/>
          <a:lstStyle/>
          <a:p>
            <a:r>
              <a:rPr lang="en-US" sz="1800" dirty="0"/>
              <a:t>We will try to develop the business rules of an a</a:t>
            </a:r>
            <a:r>
              <a:rPr lang="en-US" sz="1800" b="1" dirty="0"/>
              <a:t>utomatic scorer for Bowling.</a:t>
            </a:r>
          </a:p>
          <a:p>
            <a:pPr marL="285750" indent="-285750">
              <a:buFontTx/>
              <a:buChar char="-"/>
            </a:pPr>
            <a:r>
              <a:rPr lang="en-US" sz="1800" dirty="0"/>
              <a:t>We develop it in a series of mini “sprints”</a:t>
            </a:r>
          </a:p>
          <a:p>
            <a:pPr marL="285750" indent="-285750">
              <a:buFontTx/>
              <a:buChar char="-"/>
            </a:pPr>
            <a:r>
              <a:rPr lang="en-US" sz="1800" dirty="0"/>
              <a:t>We strictly follow the TDD workflow</a:t>
            </a:r>
          </a:p>
          <a:p>
            <a:pPr marL="285750" indent="-285750">
              <a:buFontTx/>
              <a:buChar char="-"/>
            </a:pPr>
            <a:r>
              <a:rPr lang="en-US" sz="1800" b="1" dirty="0"/>
              <a:t>Collect cases where we had problems</a:t>
            </a:r>
          </a:p>
          <a:p>
            <a:pPr marL="285750" indent="-285750">
              <a:buFontTx/>
              <a:buChar char="-"/>
            </a:pPr>
            <a:r>
              <a:rPr lang="en-US" sz="1800" dirty="0"/>
              <a:t>Discuss our experiences after each sprint</a:t>
            </a:r>
            <a:endParaRPr lang="en-US" sz="1800" b="1" dirty="0"/>
          </a:p>
          <a:p>
            <a:pPr marL="285750" indent="-285750">
              <a:buFontTx/>
              <a:buChar char="-"/>
            </a:pPr>
            <a:endParaRPr lang="en-US" sz="1800" b="1" dirty="0"/>
          </a:p>
          <a:p>
            <a:r>
              <a:rPr lang="en-US" sz="1800" dirty="0"/>
              <a:t> </a:t>
            </a:r>
          </a:p>
        </p:txBody>
      </p:sp>
      <p:pic>
        <p:nvPicPr>
          <p:cNvPr id="38914" name="Picture 2" descr="Leisure Bowling Lanes - Bowling Alley in Oshawa">
            <a:extLst>
              <a:ext uri="{FF2B5EF4-FFF2-40B4-BE49-F238E27FC236}">
                <a16:creationId xmlns:a16="http://schemas.microsoft.com/office/drawing/2014/main" id="{B25BFCD5-4557-0299-BDE7-765C5FC0DD6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772" r="2" b="386"/>
          <a:stretch/>
        </p:blipFill>
        <p:spPr bwMode="auto">
          <a:xfrm>
            <a:off x="6335902" y="1775816"/>
            <a:ext cx="5376672" cy="4507992"/>
          </a:xfrm>
          <a:prstGeom prst="rect">
            <a:avLst/>
          </a:prstGeom>
          <a:solidFill>
            <a:srgbClr val="FFFFFF"/>
          </a:solidFill>
        </p:spPr>
      </p:pic>
      <p:sp>
        <p:nvSpPr>
          <p:cNvPr id="5" name="Footer Placeholder 4">
            <a:extLst>
              <a:ext uri="{FF2B5EF4-FFF2-40B4-BE49-F238E27FC236}">
                <a16:creationId xmlns:a16="http://schemas.microsoft.com/office/drawing/2014/main" id="{6E383367-5205-6C9B-E1C5-D68F64450D3C}"/>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6" name="Title 5">
            <a:extLst>
              <a:ext uri="{FF2B5EF4-FFF2-40B4-BE49-F238E27FC236}">
                <a16:creationId xmlns:a16="http://schemas.microsoft.com/office/drawing/2014/main" id="{0452DCE9-9FC6-E616-E7EC-63077A6FEAE5}"/>
              </a:ext>
            </a:extLst>
          </p:cNvPr>
          <p:cNvSpPr>
            <a:spLocks noGrp="1"/>
          </p:cNvSpPr>
          <p:nvPr>
            <p:ph type="title"/>
          </p:nvPr>
        </p:nvSpPr>
        <p:spPr>
          <a:xfrm>
            <a:off x="479425" y="789413"/>
            <a:ext cx="11233150" cy="609398"/>
          </a:xfrm>
        </p:spPr>
        <p:txBody>
          <a:bodyPr wrap="square" anchor="t">
            <a:normAutofit/>
          </a:bodyPr>
          <a:lstStyle/>
          <a:p>
            <a:r>
              <a:rPr lang="en-DE" dirty="0"/>
              <a:t>What are we gona develop today?	</a:t>
            </a:r>
          </a:p>
        </p:txBody>
      </p:sp>
      <p:sp>
        <p:nvSpPr>
          <p:cNvPr id="7" name="Date Placeholder 6">
            <a:extLst>
              <a:ext uri="{FF2B5EF4-FFF2-40B4-BE49-F238E27FC236}">
                <a16:creationId xmlns:a16="http://schemas.microsoft.com/office/drawing/2014/main" id="{CFC48094-22CD-C4C2-978E-0EC862DD92D1}"/>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spTree>
    <p:extLst>
      <p:ext uri="{BB962C8B-B14F-4D97-AF65-F5344CB8AC3E}">
        <p14:creationId xmlns:p14="http://schemas.microsoft.com/office/powerpoint/2010/main" val="3033976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C30C45-C0DC-584E-54E0-A0F5B14592C6}"/>
              </a:ext>
            </a:extLst>
          </p:cNvPr>
          <p:cNvSpPr>
            <a:spLocks noGrp="1"/>
          </p:cNvSpPr>
          <p:nvPr>
            <p:ph type="sldNum" sz="quarter" idx="11"/>
          </p:nvPr>
        </p:nvSpPr>
        <p:spPr/>
        <p:txBody>
          <a:bodyPr/>
          <a:lstStyle/>
          <a:p>
            <a:fld id="{C50CBA42-791E-4851-9FB4-39A223136DC3}" type="slidenum">
              <a:rPr lang="de-DE" smtClean="0"/>
              <a:t>16</a:t>
            </a:fld>
            <a:endParaRPr lang="de-DE"/>
          </a:p>
        </p:txBody>
      </p:sp>
      <p:sp>
        <p:nvSpPr>
          <p:cNvPr id="3" name="Text Placeholder 2">
            <a:extLst>
              <a:ext uri="{FF2B5EF4-FFF2-40B4-BE49-F238E27FC236}">
                <a16:creationId xmlns:a16="http://schemas.microsoft.com/office/drawing/2014/main" id="{2485D7BE-04B3-9EE2-BCDD-1A4F176EB843}"/>
              </a:ext>
            </a:extLst>
          </p:cNvPr>
          <p:cNvSpPr>
            <a:spLocks noGrp="1"/>
          </p:cNvSpPr>
          <p:nvPr>
            <p:ph type="body" sz="quarter" idx="15"/>
          </p:nvPr>
        </p:nvSpPr>
        <p:spPr>
          <a:xfrm>
            <a:off x="479424" y="340367"/>
            <a:ext cx="9509760" cy="246221"/>
          </a:xfrm>
        </p:spPr>
        <p:txBody>
          <a:bodyPr/>
          <a:lstStyle/>
          <a:p>
            <a:r>
              <a:rPr lang="en-DE" dirty="0"/>
              <a:t>Coding case</a:t>
            </a:r>
          </a:p>
        </p:txBody>
      </p:sp>
      <p:sp>
        <p:nvSpPr>
          <p:cNvPr id="4" name="Content Placeholder 3">
            <a:extLst>
              <a:ext uri="{FF2B5EF4-FFF2-40B4-BE49-F238E27FC236}">
                <a16:creationId xmlns:a16="http://schemas.microsoft.com/office/drawing/2014/main" id="{FD0D94CD-4148-0504-9A8E-CDDD0BA156DF}"/>
              </a:ext>
            </a:extLst>
          </p:cNvPr>
          <p:cNvSpPr>
            <a:spLocks noGrp="1"/>
          </p:cNvSpPr>
          <p:nvPr>
            <p:ph sz="quarter" idx="17"/>
          </p:nvPr>
        </p:nvSpPr>
        <p:spPr>
          <a:xfrm>
            <a:off x="479423" y="1775816"/>
            <a:ext cx="6745342" cy="4510684"/>
          </a:xfrm>
        </p:spPr>
        <p:txBody>
          <a:bodyPr/>
          <a:lstStyle/>
          <a:p>
            <a:pPr marL="285750" indent="-285750">
              <a:buFontTx/>
              <a:buChar char="-"/>
            </a:pPr>
            <a:r>
              <a:rPr lang="en-DE" sz="1800" dirty="0"/>
              <a:t>Bowling is played with 10 pins</a:t>
            </a:r>
          </a:p>
          <a:p>
            <a:pPr marL="285750" indent="-285750">
              <a:buFontTx/>
              <a:buChar char="-"/>
            </a:pPr>
            <a:r>
              <a:rPr lang="en-DE" sz="1800" dirty="0"/>
              <a:t>Each player plays for 10 frames</a:t>
            </a:r>
          </a:p>
          <a:p>
            <a:pPr marL="285750" indent="-285750">
              <a:buFontTx/>
              <a:buChar char="-"/>
            </a:pPr>
            <a:r>
              <a:rPr lang="en-DE" sz="1800" dirty="0"/>
              <a:t>A player has two throws per frame to knock down all pins</a:t>
            </a:r>
          </a:p>
          <a:p>
            <a:endParaRPr lang="en-DE" sz="1800" dirty="0"/>
          </a:p>
        </p:txBody>
      </p:sp>
      <p:sp>
        <p:nvSpPr>
          <p:cNvPr id="5" name="Footer Placeholder 4">
            <a:extLst>
              <a:ext uri="{FF2B5EF4-FFF2-40B4-BE49-F238E27FC236}">
                <a16:creationId xmlns:a16="http://schemas.microsoft.com/office/drawing/2014/main" id="{924D4C7E-D415-8F40-7CFE-BFC8B3FA3DDB}"/>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33D836E-B4CE-9614-7AC5-9535890BFDA3}"/>
              </a:ext>
            </a:extLst>
          </p:cNvPr>
          <p:cNvSpPr>
            <a:spLocks noGrp="1"/>
          </p:cNvSpPr>
          <p:nvPr>
            <p:ph type="title"/>
          </p:nvPr>
        </p:nvSpPr>
        <p:spPr/>
        <p:txBody>
          <a:bodyPr/>
          <a:lstStyle/>
          <a:p>
            <a:r>
              <a:rPr lang="en-DE" dirty="0"/>
              <a:t>Bowling basic rules</a:t>
            </a:r>
          </a:p>
        </p:txBody>
      </p:sp>
      <p:sp>
        <p:nvSpPr>
          <p:cNvPr id="7" name="Date Placeholder 6">
            <a:extLst>
              <a:ext uri="{FF2B5EF4-FFF2-40B4-BE49-F238E27FC236}">
                <a16:creationId xmlns:a16="http://schemas.microsoft.com/office/drawing/2014/main" id="{D22D65AE-2C42-A4F7-9736-11E4D732C178}"/>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pic>
        <p:nvPicPr>
          <p:cNvPr id="39940" name="Picture 4">
            <a:extLst>
              <a:ext uri="{FF2B5EF4-FFF2-40B4-BE49-F238E27FC236}">
                <a16:creationId xmlns:a16="http://schemas.microsoft.com/office/drawing/2014/main" id="{EEEF9466-5C5C-0435-C77E-DA7C490EE7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0872" y="1697706"/>
            <a:ext cx="2956623" cy="2628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73474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1F89E-602A-BC5B-450D-D6EBB6D15733}"/>
              </a:ext>
            </a:extLst>
          </p:cNvPr>
          <p:cNvSpPr>
            <a:spLocks noGrp="1"/>
          </p:cNvSpPr>
          <p:nvPr>
            <p:ph type="sldNum" sz="quarter" idx="11"/>
          </p:nvPr>
        </p:nvSpPr>
        <p:spPr/>
        <p:txBody>
          <a:bodyPr/>
          <a:lstStyle/>
          <a:p>
            <a:fld id="{C50CBA42-791E-4851-9FB4-39A223136DC3}" type="slidenum">
              <a:rPr lang="de-DE" smtClean="0"/>
              <a:t>17</a:t>
            </a:fld>
            <a:endParaRPr lang="de-DE"/>
          </a:p>
        </p:txBody>
      </p:sp>
      <p:sp>
        <p:nvSpPr>
          <p:cNvPr id="3" name="Text Placeholder 2">
            <a:extLst>
              <a:ext uri="{FF2B5EF4-FFF2-40B4-BE49-F238E27FC236}">
                <a16:creationId xmlns:a16="http://schemas.microsoft.com/office/drawing/2014/main" id="{8077F37C-CB03-2AE2-43F9-B4E149D70C51}"/>
              </a:ext>
            </a:extLst>
          </p:cNvPr>
          <p:cNvSpPr>
            <a:spLocks noGrp="1"/>
          </p:cNvSpPr>
          <p:nvPr>
            <p:ph type="body" sz="quarter" idx="15"/>
          </p:nvPr>
        </p:nvSpPr>
        <p:spPr>
          <a:xfrm>
            <a:off x="479424" y="340367"/>
            <a:ext cx="9509760" cy="246221"/>
          </a:xfrm>
        </p:spPr>
        <p:txBody>
          <a:bodyPr/>
          <a:lstStyle/>
          <a:p>
            <a:r>
              <a:rPr lang="en-DE" dirty="0"/>
              <a:t>Coding case</a:t>
            </a:r>
          </a:p>
        </p:txBody>
      </p:sp>
      <p:sp>
        <p:nvSpPr>
          <p:cNvPr id="5" name="Footer Placeholder 4">
            <a:extLst>
              <a:ext uri="{FF2B5EF4-FFF2-40B4-BE49-F238E27FC236}">
                <a16:creationId xmlns:a16="http://schemas.microsoft.com/office/drawing/2014/main" id="{96D6FEC3-4F95-CA4C-E46F-734788B9E97A}"/>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2F819E0B-F9AE-F5C0-E18E-FBCE4FD0B148}"/>
              </a:ext>
            </a:extLst>
          </p:cNvPr>
          <p:cNvSpPr>
            <a:spLocks noGrp="1"/>
          </p:cNvSpPr>
          <p:nvPr>
            <p:ph type="title"/>
          </p:nvPr>
        </p:nvSpPr>
        <p:spPr/>
        <p:txBody>
          <a:bodyPr/>
          <a:lstStyle/>
          <a:p>
            <a:r>
              <a:rPr lang="en-DE" dirty="0"/>
              <a:t>Sprint 1</a:t>
            </a:r>
          </a:p>
        </p:txBody>
      </p:sp>
      <p:sp>
        <p:nvSpPr>
          <p:cNvPr id="7" name="Date Placeholder 6">
            <a:extLst>
              <a:ext uri="{FF2B5EF4-FFF2-40B4-BE49-F238E27FC236}">
                <a16:creationId xmlns:a16="http://schemas.microsoft.com/office/drawing/2014/main" id="{56D8AFF9-90ED-D76E-4C36-D5312241FC05}"/>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
        <p:nvSpPr>
          <p:cNvPr id="10" name="Snip Single Corner Rectangle 9">
            <a:extLst>
              <a:ext uri="{FF2B5EF4-FFF2-40B4-BE49-F238E27FC236}">
                <a16:creationId xmlns:a16="http://schemas.microsoft.com/office/drawing/2014/main" id="{53846CC0-2AEA-FFAD-9395-BA921E0FA5D5}"/>
              </a:ext>
            </a:extLst>
          </p:cNvPr>
          <p:cNvSpPr/>
          <p:nvPr/>
        </p:nvSpPr>
        <p:spPr>
          <a:xfrm>
            <a:off x="3565487" y="1601637"/>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Knocked down pins are counted towards the players score</a:t>
            </a:r>
          </a:p>
        </p:txBody>
      </p:sp>
      <p:sp>
        <p:nvSpPr>
          <p:cNvPr id="11" name="Snip Single Corner Rectangle 10">
            <a:extLst>
              <a:ext uri="{FF2B5EF4-FFF2-40B4-BE49-F238E27FC236}">
                <a16:creationId xmlns:a16="http://schemas.microsoft.com/office/drawing/2014/main" id="{B84F351E-3DA9-9A3D-97E6-2F4380D2899D}"/>
              </a:ext>
            </a:extLst>
          </p:cNvPr>
          <p:cNvSpPr/>
          <p:nvPr/>
        </p:nvSpPr>
        <p:spPr>
          <a:xfrm>
            <a:off x="884256" y="1601637"/>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ll ten pins are standing in the beginning of a frame</a:t>
            </a:r>
          </a:p>
        </p:txBody>
      </p:sp>
      <p:sp>
        <p:nvSpPr>
          <p:cNvPr id="12" name="Snip Single Corner Rectangle 11">
            <a:extLst>
              <a:ext uri="{FF2B5EF4-FFF2-40B4-BE49-F238E27FC236}">
                <a16:creationId xmlns:a16="http://schemas.microsoft.com/office/drawing/2014/main" id="{A794F1B7-02CD-8852-D301-179173EE9C51}"/>
              </a:ext>
            </a:extLst>
          </p:cNvPr>
          <p:cNvSpPr/>
          <p:nvPr/>
        </p:nvSpPr>
        <p:spPr>
          <a:xfrm>
            <a:off x="6246717" y="1601636"/>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e same pin can not be counted twice in the same frame</a:t>
            </a:r>
          </a:p>
        </p:txBody>
      </p:sp>
      <p:sp>
        <p:nvSpPr>
          <p:cNvPr id="13" name="Snip Single Corner Rectangle 12">
            <a:extLst>
              <a:ext uri="{FF2B5EF4-FFF2-40B4-BE49-F238E27FC236}">
                <a16:creationId xmlns:a16="http://schemas.microsoft.com/office/drawing/2014/main" id="{0AFC2276-A690-67F8-9FA4-AC645FD57970}"/>
              </a:ext>
            </a:extLst>
          </p:cNvPr>
          <p:cNvSpPr/>
          <p:nvPr/>
        </p:nvSpPr>
        <p:spPr>
          <a:xfrm>
            <a:off x="8957131" y="1601636"/>
            <a:ext cx="2318270"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It is possible to query the currently standing pins</a:t>
            </a:r>
          </a:p>
        </p:txBody>
      </p:sp>
      <p:sp>
        <p:nvSpPr>
          <p:cNvPr id="19" name="Snip Single Corner Rectangle 18">
            <a:extLst>
              <a:ext uri="{FF2B5EF4-FFF2-40B4-BE49-F238E27FC236}">
                <a16:creationId xmlns:a16="http://schemas.microsoft.com/office/drawing/2014/main" id="{9CF60C95-A4B5-B039-CECB-A4D2CB1896DF}"/>
              </a:ext>
            </a:extLst>
          </p:cNvPr>
          <p:cNvSpPr/>
          <p:nvPr/>
        </p:nvSpPr>
        <p:spPr>
          <a:xfrm>
            <a:off x="884258" y="4022517"/>
            <a:ext cx="2318270"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It is possible to query the score of the player</a:t>
            </a:r>
          </a:p>
        </p:txBody>
      </p:sp>
    </p:spTree>
    <p:extLst>
      <p:ext uri="{BB962C8B-B14F-4D97-AF65-F5344CB8AC3E}">
        <p14:creationId xmlns:p14="http://schemas.microsoft.com/office/powerpoint/2010/main" val="1262598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1F89E-602A-BC5B-450D-D6EBB6D15733}"/>
              </a:ext>
            </a:extLst>
          </p:cNvPr>
          <p:cNvSpPr>
            <a:spLocks noGrp="1"/>
          </p:cNvSpPr>
          <p:nvPr>
            <p:ph type="sldNum" sz="quarter" idx="11"/>
          </p:nvPr>
        </p:nvSpPr>
        <p:spPr/>
        <p:txBody>
          <a:bodyPr/>
          <a:lstStyle/>
          <a:p>
            <a:fld id="{C50CBA42-791E-4851-9FB4-39A223136DC3}" type="slidenum">
              <a:rPr lang="de-DE" smtClean="0"/>
              <a:t>18</a:t>
            </a:fld>
            <a:endParaRPr lang="de-DE"/>
          </a:p>
        </p:txBody>
      </p:sp>
      <p:sp>
        <p:nvSpPr>
          <p:cNvPr id="3" name="Text Placeholder 2">
            <a:extLst>
              <a:ext uri="{FF2B5EF4-FFF2-40B4-BE49-F238E27FC236}">
                <a16:creationId xmlns:a16="http://schemas.microsoft.com/office/drawing/2014/main" id="{8077F37C-CB03-2AE2-43F9-B4E149D70C51}"/>
              </a:ext>
            </a:extLst>
          </p:cNvPr>
          <p:cNvSpPr>
            <a:spLocks noGrp="1"/>
          </p:cNvSpPr>
          <p:nvPr>
            <p:ph type="body" sz="quarter" idx="15"/>
          </p:nvPr>
        </p:nvSpPr>
        <p:spPr>
          <a:xfrm>
            <a:off x="479424" y="340367"/>
            <a:ext cx="9509760" cy="246221"/>
          </a:xfrm>
        </p:spPr>
        <p:txBody>
          <a:bodyPr/>
          <a:lstStyle/>
          <a:p>
            <a:r>
              <a:rPr lang="en-DE" dirty="0"/>
              <a:t>Coding case</a:t>
            </a:r>
          </a:p>
        </p:txBody>
      </p:sp>
      <p:sp>
        <p:nvSpPr>
          <p:cNvPr id="5" name="Footer Placeholder 4">
            <a:extLst>
              <a:ext uri="{FF2B5EF4-FFF2-40B4-BE49-F238E27FC236}">
                <a16:creationId xmlns:a16="http://schemas.microsoft.com/office/drawing/2014/main" id="{96D6FEC3-4F95-CA4C-E46F-734788B9E97A}"/>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2F819E0B-F9AE-F5C0-E18E-FBCE4FD0B148}"/>
              </a:ext>
            </a:extLst>
          </p:cNvPr>
          <p:cNvSpPr>
            <a:spLocks noGrp="1"/>
          </p:cNvSpPr>
          <p:nvPr>
            <p:ph type="title"/>
          </p:nvPr>
        </p:nvSpPr>
        <p:spPr/>
        <p:txBody>
          <a:bodyPr/>
          <a:lstStyle/>
          <a:p>
            <a:r>
              <a:rPr lang="en-DE" dirty="0"/>
              <a:t>Sprint 2</a:t>
            </a:r>
          </a:p>
        </p:txBody>
      </p:sp>
      <p:sp>
        <p:nvSpPr>
          <p:cNvPr id="7" name="Date Placeholder 6">
            <a:extLst>
              <a:ext uri="{FF2B5EF4-FFF2-40B4-BE49-F238E27FC236}">
                <a16:creationId xmlns:a16="http://schemas.microsoft.com/office/drawing/2014/main" id="{56D8AFF9-90ED-D76E-4C36-D5312241FC05}"/>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
        <p:nvSpPr>
          <p:cNvPr id="10" name="Snip Single Corner Rectangle 9">
            <a:extLst>
              <a:ext uri="{FF2B5EF4-FFF2-40B4-BE49-F238E27FC236}">
                <a16:creationId xmlns:a16="http://schemas.microsoft.com/office/drawing/2014/main" id="{53846CC0-2AEA-FFAD-9395-BA921E0FA5D5}"/>
              </a:ext>
            </a:extLst>
          </p:cNvPr>
          <p:cNvSpPr/>
          <p:nvPr/>
        </p:nvSpPr>
        <p:spPr>
          <a:xfrm>
            <a:off x="6328783" y="1398812"/>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e game is over after each player finished their tenth frame.</a:t>
            </a:r>
          </a:p>
        </p:txBody>
      </p:sp>
      <p:sp>
        <p:nvSpPr>
          <p:cNvPr id="11" name="Snip Single Corner Rectangle 10">
            <a:extLst>
              <a:ext uri="{FF2B5EF4-FFF2-40B4-BE49-F238E27FC236}">
                <a16:creationId xmlns:a16="http://schemas.microsoft.com/office/drawing/2014/main" id="{B84F351E-3DA9-9A3D-97E6-2F4380D2899D}"/>
              </a:ext>
            </a:extLst>
          </p:cNvPr>
          <p:cNvSpPr/>
          <p:nvPr/>
        </p:nvSpPr>
        <p:spPr>
          <a:xfrm>
            <a:off x="3647552" y="1398812"/>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It is the turn of the next player after a player finishes a frame.</a:t>
            </a:r>
          </a:p>
        </p:txBody>
      </p:sp>
      <p:sp>
        <p:nvSpPr>
          <p:cNvPr id="12" name="Snip Single Corner Rectangle 11">
            <a:extLst>
              <a:ext uri="{FF2B5EF4-FFF2-40B4-BE49-F238E27FC236}">
                <a16:creationId xmlns:a16="http://schemas.microsoft.com/office/drawing/2014/main" id="{A794F1B7-02CD-8852-D301-179173EE9C51}"/>
              </a:ext>
            </a:extLst>
          </p:cNvPr>
          <p:cNvSpPr/>
          <p:nvPr/>
        </p:nvSpPr>
        <p:spPr>
          <a:xfrm>
            <a:off x="9010013" y="1398811"/>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fter the game ends the player scores are submitted to the global </a:t>
            </a:r>
            <a:r>
              <a:rPr lang="en-US" sz="2000" dirty="0" err="1"/>
              <a:t>highscore</a:t>
            </a:r>
            <a:r>
              <a:rPr lang="en-US" sz="2000" dirty="0"/>
              <a:t> board.</a:t>
            </a:r>
          </a:p>
        </p:txBody>
      </p:sp>
      <p:sp>
        <p:nvSpPr>
          <p:cNvPr id="13" name="Snip Single Corner Rectangle 12">
            <a:extLst>
              <a:ext uri="{FF2B5EF4-FFF2-40B4-BE49-F238E27FC236}">
                <a16:creationId xmlns:a16="http://schemas.microsoft.com/office/drawing/2014/main" id="{0AFC2276-A690-67F8-9FA4-AC645FD57970}"/>
              </a:ext>
            </a:extLst>
          </p:cNvPr>
          <p:cNvSpPr/>
          <p:nvPr/>
        </p:nvSpPr>
        <p:spPr>
          <a:xfrm>
            <a:off x="966322" y="3851398"/>
            <a:ext cx="2318270"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ll frames of all players can be accessed.</a:t>
            </a:r>
          </a:p>
        </p:txBody>
      </p:sp>
      <p:sp>
        <p:nvSpPr>
          <p:cNvPr id="4" name="Snip Single Corner Rectangle 3">
            <a:extLst>
              <a:ext uri="{FF2B5EF4-FFF2-40B4-BE49-F238E27FC236}">
                <a16:creationId xmlns:a16="http://schemas.microsoft.com/office/drawing/2014/main" id="{2D9750FE-CA7F-9AAC-AF5B-1D7277F43813}"/>
              </a:ext>
            </a:extLst>
          </p:cNvPr>
          <p:cNvSpPr/>
          <p:nvPr/>
        </p:nvSpPr>
        <p:spPr>
          <a:xfrm>
            <a:off x="966322" y="1441381"/>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 game can be started for multiple players.</a:t>
            </a:r>
          </a:p>
        </p:txBody>
      </p:sp>
    </p:spTree>
    <p:extLst>
      <p:ext uri="{BB962C8B-B14F-4D97-AF65-F5344CB8AC3E}">
        <p14:creationId xmlns:p14="http://schemas.microsoft.com/office/powerpoint/2010/main" val="2467078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1F89E-602A-BC5B-450D-D6EBB6D15733}"/>
              </a:ext>
            </a:extLst>
          </p:cNvPr>
          <p:cNvSpPr>
            <a:spLocks noGrp="1"/>
          </p:cNvSpPr>
          <p:nvPr>
            <p:ph type="sldNum" sz="quarter" idx="11"/>
          </p:nvPr>
        </p:nvSpPr>
        <p:spPr/>
        <p:txBody>
          <a:bodyPr/>
          <a:lstStyle/>
          <a:p>
            <a:fld id="{C50CBA42-791E-4851-9FB4-39A223136DC3}" type="slidenum">
              <a:rPr lang="de-DE" smtClean="0"/>
              <a:t>19</a:t>
            </a:fld>
            <a:endParaRPr lang="de-DE"/>
          </a:p>
        </p:txBody>
      </p:sp>
      <p:sp>
        <p:nvSpPr>
          <p:cNvPr id="3" name="Text Placeholder 2">
            <a:extLst>
              <a:ext uri="{FF2B5EF4-FFF2-40B4-BE49-F238E27FC236}">
                <a16:creationId xmlns:a16="http://schemas.microsoft.com/office/drawing/2014/main" id="{8077F37C-CB03-2AE2-43F9-B4E149D70C51}"/>
              </a:ext>
            </a:extLst>
          </p:cNvPr>
          <p:cNvSpPr>
            <a:spLocks noGrp="1"/>
          </p:cNvSpPr>
          <p:nvPr>
            <p:ph type="body" sz="quarter" idx="15"/>
          </p:nvPr>
        </p:nvSpPr>
        <p:spPr>
          <a:xfrm>
            <a:off x="479424" y="340367"/>
            <a:ext cx="9509760" cy="246221"/>
          </a:xfrm>
        </p:spPr>
        <p:txBody>
          <a:bodyPr/>
          <a:lstStyle/>
          <a:p>
            <a:r>
              <a:rPr lang="en-DE" dirty="0"/>
              <a:t>Coding case</a:t>
            </a:r>
          </a:p>
        </p:txBody>
      </p:sp>
      <p:sp>
        <p:nvSpPr>
          <p:cNvPr id="5" name="Footer Placeholder 4">
            <a:extLst>
              <a:ext uri="{FF2B5EF4-FFF2-40B4-BE49-F238E27FC236}">
                <a16:creationId xmlns:a16="http://schemas.microsoft.com/office/drawing/2014/main" id="{96D6FEC3-4F95-CA4C-E46F-734788B9E97A}"/>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2F819E0B-F9AE-F5C0-E18E-FBCE4FD0B148}"/>
              </a:ext>
            </a:extLst>
          </p:cNvPr>
          <p:cNvSpPr>
            <a:spLocks noGrp="1"/>
          </p:cNvSpPr>
          <p:nvPr>
            <p:ph type="title"/>
          </p:nvPr>
        </p:nvSpPr>
        <p:spPr/>
        <p:txBody>
          <a:bodyPr/>
          <a:lstStyle/>
          <a:p>
            <a:r>
              <a:rPr lang="en-DE" dirty="0"/>
              <a:t>Sprint 3</a:t>
            </a:r>
          </a:p>
        </p:txBody>
      </p:sp>
      <p:sp>
        <p:nvSpPr>
          <p:cNvPr id="7" name="Date Placeholder 6">
            <a:extLst>
              <a:ext uri="{FF2B5EF4-FFF2-40B4-BE49-F238E27FC236}">
                <a16:creationId xmlns:a16="http://schemas.microsoft.com/office/drawing/2014/main" id="{56D8AFF9-90ED-D76E-4C36-D5312241FC05}"/>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
        <p:nvSpPr>
          <p:cNvPr id="10" name="Snip Single Corner Rectangle 9">
            <a:extLst>
              <a:ext uri="{FF2B5EF4-FFF2-40B4-BE49-F238E27FC236}">
                <a16:creationId xmlns:a16="http://schemas.microsoft.com/office/drawing/2014/main" id="{53846CC0-2AEA-FFAD-9395-BA921E0FA5D5}"/>
              </a:ext>
            </a:extLst>
          </p:cNvPr>
          <p:cNvSpPr/>
          <p:nvPr/>
        </p:nvSpPr>
        <p:spPr>
          <a:xfrm>
            <a:off x="6328783" y="1398812"/>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e following throw after a spare is counted twice</a:t>
            </a:r>
          </a:p>
        </p:txBody>
      </p:sp>
      <p:sp>
        <p:nvSpPr>
          <p:cNvPr id="11" name="Snip Single Corner Rectangle 10">
            <a:extLst>
              <a:ext uri="{FF2B5EF4-FFF2-40B4-BE49-F238E27FC236}">
                <a16:creationId xmlns:a16="http://schemas.microsoft.com/office/drawing/2014/main" id="{B84F351E-3DA9-9A3D-97E6-2F4380D2899D}"/>
              </a:ext>
            </a:extLst>
          </p:cNvPr>
          <p:cNvSpPr/>
          <p:nvPr/>
        </p:nvSpPr>
        <p:spPr>
          <a:xfrm>
            <a:off x="3647552" y="1398812"/>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e two following throws after a strike a counted twice</a:t>
            </a:r>
          </a:p>
        </p:txBody>
      </p:sp>
      <p:sp>
        <p:nvSpPr>
          <p:cNvPr id="12" name="Snip Single Corner Rectangle 11">
            <a:extLst>
              <a:ext uri="{FF2B5EF4-FFF2-40B4-BE49-F238E27FC236}">
                <a16:creationId xmlns:a16="http://schemas.microsoft.com/office/drawing/2014/main" id="{A794F1B7-02CD-8852-D301-179173EE9C51}"/>
              </a:ext>
            </a:extLst>
          </p:cNvPr>
          <p:cNvSpPr/>
          <p:nvPr/>
        </p:nvSpPr>
        <p:spPr>
          <a:xfrm>
            <a:off x="9010013" y="1398811"/>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rowing a strike in the 10</a:t>
            </a:r>
            <a:r>
              <a:rPr lang="en-US" sz="2000" baseline="30000" dirty="0"/>
              <a:t>th</a:t>
            </a:r>
            <a:r>
              <a:rPr lang="en-US" sz="2000" dirty="0"/>
              <a:t> frame results in two extra throws</a:t>
            </a:r>
          </a:p>
        </p:txBody>
      </p:sp>
      <p:sp>
        <p:nvSpPr>
          <p:cNvPr id="13" name="Snip Single Corner Rectangle 12">
            <a:extLst>
              <a:ext uri="{FF2B5EF4-FFF2-40B4-BE49-F238E27FC236}">
                <a16:creationId xmlns:a16="http://schemas.microsoft.com/office/drawing/2014/main" id="{0AFC2276-A690-67F8-9FA4-AC645FD57970}"/>
              </a:ext>
            </a:extLst>
          </p:cNvPr>
          <p:cNvSpPr/>
          <p:nvPr/>
        </p:nvSpPr>
        <p:spPr>
          <a:xfrm>
            <a:off x="966322" y="3851398"/>
            <a:ext cx="2318270"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Throwing a spare in the 10</a:t>
            </a:r>
            <a:r>
              <a:rPr lang="en-US" sz="2000" baseline="30000" dirty="0"/>
              <a:t>th</a:t>
            </a:r>
            <a:r>
              <a:rPr lang="en-US" sz="2000" dirty="0"/>
              <a:t> frame results in one extra throw</a:t>
            </a:r>
          </a:p>
        </p:txBody>
      </p:sp>
      <p:sp>
        <p:nvSpPr>
          <p:cNvPr id="4" name="Snip Single Corner Rectangle 3">
            <a:extLst>
              <a:ext uri="{FF2B5EF4-FFF2-40B4-BE49-F238E27FC236}">
                <a16:creationId xmlns:a16="http://schemas.microsoft.com/office/drawing/2014/main" id="{2D9750FE-CA7F-9AAC-AF5B-1D7277F43813}"/>
              </a:ext>
            </a:extLst>
          </p:cNvPr>
          <p:cNvSpPr/>
          <p:nvPr/>
        </p:nvSpPr>
        <p:spPr>
          <a:xfrm>
            <a:off x="966322" y="1441381"/>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It is the turn of the next player after a strike.</a:t>
            </a:r>
          </a:p>
        </p:txBody>
      </p:sp>
    </p:spTree>
    <p:extLst>
      <p:ext uri="{BB962C8B-B14F-4D97-AF65-F5344CB8AC3E}">
        <p14:creationId xmlns:p14="http://schemas.microsoft.com/office/powerpoint/2010/main" val="1167798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776427-B6E9-DC0A-F2FE-DF8ADB2BA827}"/>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2</a:t>
            </a:fld>
            <a:endParaRPr lang="de-DE"/>
          </a:p>
        </p:txBody>
      </p:sp>
      <p:sp>
        <p:nvSpPr>
          <p:cNvPr id="13" name="Text Placeholder 2">
            <a:extLst>
              <a:ext uri="{FF2B5EF4-FFF2-40B4-BE49-F238E27FC236}">
                <a16:creationId xmlns:a16="http://schemas.microsoft.com/office/drawing/2014/main" id="{15B69F36-A786-6CC1-4F17-EEF758CA1D61}"/>
              </a:ext>
            </a:extLst>
          </p:cNvPr>
          <p:cNvSpPr>
            <a:spLocks noGrp="1"/>
          </p:cNvSpPr>
          <p:nvPr>
            <p:ph type="body" sz="quarter" idx="15"/>
          </p:nvPr>
        </p:nvSpPr>
        <p:spPr>
          <a:xfrm>
            <a:off x="479424" y="340366"/>
            <a:ext cx="9509760" cy="246221"/>
          </a:xfrm>
        </p:spPr>
        <p:txBody>
          <a:bodyPr/>
          <a:lstStyle/>
          <a:p>
            <a:r>
              <a:rPr lang="en-US" dirty="0"/>
              <a:t>Origin</a:t>
            </a:r>
          </a:p>
        </p:txBody>
      </p:sp>
      <p:sp>
        <p:nvSpPr>
          <p:cNvPr id="4" name="Content Placeholder 3">
            <a:extLst>
              <a:ext uri="{FF2B5EF4-FFF2-40B4-BE49-F238E27FC236}">
                <a16:creationId xmlns:a16="http://schemas.microsoft.com/office/drawing/2014/main" id="{C9BF07AD-9613-E7EA-1FD7-3003940B53DA}"/>
              </a:ext>
            </a:extLst>
          </p:cNvPr>
          <p:cNvSpPr>
            <a:spLocks noGrp="1"/>
          </p:cNvSpPr>
          <p:nvPr>
            <p:ph sz="quarter" idx="17"/>
          </p:nvPr>
        </p:nvSpPr>
        <p:spPr>
          <a:xfrm>
            <a:off x="479424" y="1775816"/>
            <a:ext cx="5376672" cy="4507992"/>
          </a:xfrm>
        </p:spPr>
        <p:txBody>
          <a:bodyPr>
            <a:normAutofit/>
          </a:bodyPr>
          <a:lstStyle/>
          <a:p>
            <a:pPr marL="342900" indent="-342900">
              <a:buFontTx/>
              <a:buChar char="-"/>
            </a:pPr>
            <a:r>
              <a:rPr lang="en-DE" sz="2000" b="0" dirty="0"/>
              <a:t>1989 sUnit</a:t>
            </a:r>
          </a:p>
          <a:p>
            <a:pPr marL="342900" indent="-342900">
              <a:buFontTx/>
              <a:buChar char="-"/>
            </a:pPr>
            <a:r>
              <a:rPr lang="en-DE" sz="2000" b="0" dirty="0"/>
              <a:t>2000 Junit</a:t>
            </a:r>
          </a:p>
          <a:p>
            <a:pPr marL="342900" indent="-342900">
              <a:buFontTx/>
              <a:buChar char="-"/>
            </a:pPr>
            <a:r>
              <a:rPr lang="en-DE" sz="2000" b="0" dirty="0"/>
              <a:t>2000 Extreme Programming</a:t>
            </a:r>
          </a:p>
          <a:p>
            <a:pPr marL="342900" indent="-342900">
              <a:buFontTx/>
              <a:buChar char="-"/>
            </a:pPr>
            <a:r>
              <a:rPr lang="en-DE" sz="2000" b="0" dirty="0"/>
              <a:t>2001 Agile Manifesto</a:t>
            </a:r>
          </a:p>
          <a:p>
            <a:pPr marL="342900" indent="-342900">
              <a:buFontTx/>
              <a:buChar char="-"/>
            </a:pPr>
            <a:r>
              <a:rPr lang="en-DE" sz="2000" b="0" dirty="0"/>
              <a:t>2002 </a:t>
            </a:r>
            <a:r>
              <a:rPr lang="en-US" sz="2000" b="0" dirty="0"/>
              <a:t>Test Driven Development: By Example</a:t>
            </a:r>
            <a:endParaRPr lang="en-DE" sz="2000" b="0" dirty="0"/>
          </a:p>
        </p:txBody>
      </p:sp>
      <p:pic>
        <p:nvPicPr>
          <p:cNvPr id="8" name="Picture 7" descr="Text&#10;&#10;Description automatically generated">
            <a:extLst>
              <a:ext uri="{FF2B5EF4-FFF2-40B4-BE49-F238E27FC236}">
                <a16:creationId xmlns:a16="http://schemas.microsoft.com/office/drawing/2014/main" id="{A5FAE5B1-0BF5-E796-2995-088D2F05584D}"/>
              </a:ext>
            </a:extLst>
          </p:cNvPr>
          <p:cNvPicPr>
            <a:picLocks noChangeAspect="1"/>
          </p:cNvPicPr>
          <p:nvPr/>
        </p:nvPicPr>
        <p:blipFill>
          <a:blip r:embed="rId2"/>
          <a:stretch>
            <a:fillRect/>
          </a:stretch>
        </p:blipFill>
        <p:spPr>
          <a:xfrm>
            <a:off x="7290955" y="1398811"/>
            <a:ext cx="3572582" cy="450799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5" name="Footer Placeholder 4">
            <a:extLst>
              <a:ext uri="{FF2B5EF4-FFF2-40B4-BE49-F238E27FC236}">
                <a16:creationId xmlns:a16="http://schemas.microsoft.com/office/drawing/2014/main" id="{CCCF4D6D-07AA-EA46-A3BA-19FAB9D5E191}"/>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15" name="Title 6">
            <a:extLst>
              <a:ext uri="{FF2B5EF4-FFF2-40B4-BE49-F238E27FC236}">
                <a16:creationId xmlns:a16="http://schemas.microsoft.com/office/drawing/2014/main" id="{B2523D84-7541-5D13-6150-4CF3F96D1948}"/>
              </a:ext>
            </a:extLst>
          </p:cNvPr>
          <p:cNvSpPr>
            <a:spLocks noGrp="1"/>
          </p:cNvSpPr>
          <p:nvPr>
            <p:ph type="title"/>
          </p:nvPr>
        </p:nvSpPr>
        <p:spPr>
          <a:xfrm>
            <a:off x="479425" y="789413"/>
            <a:ext cx="11233150" cy="609398"/>
          </a:xfrm>
        </p:spPr>
        <p:txBody>
          <a:bodyPr/>
          <a:lstStyle/>
          <a:p>
            <a:r>
              <a:rPr lang="en-US" dirty="0"/>
              <a:t>Kent Beck did it</a:t>
            </a:r>
          </a:p>
        </p:txBody>
      </p:sp>
      <p:sp>
        <p:nvSpPr>
          <p:cNvPr id="7" name="Date Placeholder 6">
            <a:extLst>
              <a:ext uri="{FF2B5EF4-FFF2-40B4-BE49-F238E27FC236}">
                <a16:creationId xmlns:a16="http://schemas.microsoft.com/office/drawing/2014/main" id="{D15C9E73-2D95-5F8E-229A-4F8ACB011D7C}"/>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pic>
        <p:nvPicPr>
          <p:cNvPr id="30722" name="Picture 2" descr="Kent Beck – Medium">
            <a:extLst>
              <a:ext uri="{FF2B5EF4-FFF2-40B4-BE49-F238E27FC236}">
                <a16:creationId xmlns:a16="http://schemas.microsoft.com/office/drawing/2014/main" id="{B8617AFC-FE4E-9C71-DF1A-07A5416EB26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4000" b="98909" l="10000" r="90000">
                        <a14:foregroundMark x1="49455" y1="9333" x2="56364" y2="11394"/>
                        <a14:foregroundMark x1="56364" y1="11394" x2="58091" y2="13333"/>
                        <a14:foregroundMark x1="68364" y1="22061" x2="61909" y2="12727"/>
                        <a14:foregroundMark x1="71182" y1="26667" x2="68091" y2="26061"/>
                        <a14:foregroundMark x1="48545" y1="4848" x2="48545" y2="4848"/>
                        <a14:foregroundMark x1="39091" y1="92000" x2="51000" y2="95394"/>
                        <a14:foregroundMark x1="51000" y1="95394" x2="62818" y2="94545"/>
                        <a14:foregroundMark x1="62818" y1="94545" x2="70273" y2="97333"/>
                        <a14:foregroundMark x1="38545" y1="91636" x2="33455" y2="97576"/>
                        <a14:foregroundMark x1="50545" y1="6182" x2="50545" y2="4000"/>
                        <a14:foregroundMark x1="48909" y1="98909" x2="48909" y2="98909"/>
                      </a14:backgroundRemoval>
                    </a14:imgEffect>
                  </a14:imgLayer>
                </a14:imgProps>
              </a:ext>
              <a:ext uri="{28A0092B-C50C-407E-A947-70E740481C1C}">
                <a14:useLocalDpi xmlns:a14="http://schemas.microsoft.com/office/drawing/2010/main" val="0"/>
              </a:ext>
            </a:extLst>
          </a:blip>
          <a:srcRect/>
          <a:stretch>
            <a:fillRect/>
          </a:stretch>
        </p:blipFill>
        <p:spPr bwMode="auto">
          <a:xfrm>
            <a:off x="8486290" y="3354073"/>
            <a:ext cx="3891861" cy="2918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41518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E1F89E-602A-BC5B-450D-D6EBB6D15733}"/>
              </a:ext>
            </a:extLst>
          </p:cNvPr>
          <p:cNvSpPr>
            <a:spLocks noGrp="1"/>
          </p:cNvSpPr>
          <p:nvPr>
            <p:ph type="sldNum" sz="quarter" idx="11"/>
          </p:nvPr>
        </p:nvSpPr>
        <p:spPr/>
        <p:txBody>
          <a:bodyPr/>
          <a:lstStyle/>
          <a:p>
            <a:fld id="{C50CBA42-791E-4851-9FB4-39A223136DC3}" type="slidenum">
              <a:rPr lang="de-DE" smtClean="0"/>
              <a:t>20</a:t>
            </a:fld>
            <a:endParaRPr lang="de-DE"/>
          </a:p>
        </p:txBody>
      </p:sp>
      <p:sp>
        <p:nvSpPr>
          <p:cNvPr id="3" name="Text Placeholder 2">
            <a:extLst>
              <a:ext uri="{FF2B5EF4-FFF2-40B4-BE49-F238E27FC236}">
                <a16:creationId xmlns:a16="http://schemas.microsoft.com/office/drawing/2014/main" id="{8077F37C-CB03-2AE2-43F9-B4E149D70C51}"/>
              </a:ext>
            </a:extLst>
          </p:cNvPr>
          <p:cNvSpPr>
            <a:spLocks noGrp="1"/>
          </p:cNvSpPr>
          <p:nvPr>
            <p:ph type="body" sz="quarter" idx="15"/>
          </p:nvPr>
        </p:nvSpPr>
        <p:spPr>
          <a:xfrm>
            <a:off x="479424" y="340367"/>
            <a:ext cx="9509760" cy="246221"/>
          </a:xfrm>
        </p:spPr>
        <p:txBody>
          <a:bodyPr/>
          <a:lstStyle/>
          <a:p>
            <a:r>
              <a:rPr lang="en-DE" dirty="0"/>
              <a:t>Coding case</a:t>
            </a:r>
          </a:p>
        </p:txBody>
      </p:sp>
      <p:sp>
        <p:nvSpPr>
          <p:cNvPr id="5" name="Footer Placeholder 4">
            <a:extLst>
              <a:ext uri="{FF2B5EF4-FFF2-40B4-BE49-F238E27FC236}">
                <a16:creationId xmlns:a16="http://schemas.microsoft.com/office/drawing/2014/main" id="{96D6FEC3-4F95-CA4C-E46F-734788B9E97A}"/>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2F819E0B-F9AE-F5C0-E18E-FBCE4FD0B148}"/>
              </a:ext>
            </a:extLst>
          </p:cNvPr>
          <p:cNvSpPr>
            <a:spLocks noGrp="1"/>
          </p:cNvSpPr>
          <p:nvPr>
            <p:ph type="title"/>
          </p:nvPr>
        </p:nvSpPr>
        <p:spPr/>
        <p:txBody>
          <a:bodyPr/>
          <a:lstStyle/>
          <a:p>
            <a:r>
              <a:rPr lang="en-DE" dirty="0"/>
              <a:t>Sprint 4</a:t>
            </a:r>
          </a:p>
        </p:txBody>
      </p:sp>
      <p:sp>
        <p:nvSpPr>
          <p:cNvPr id="7" name="Date Placeholder 6">
            <a:extLst>
              <a:ext uri="{FF2B5EF4-FFF2-40B4-BE49-F238E27FC236}">
                <a16:creationId xmlns:a16="http://schemas.microsoft.com/office/drawing/2014/main" id="{56D8AFF9-90ED-D76E-4C36-D5312241FC05}"/>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
        <p:nvSpPr>
          <p:cNvPr id="10" name="Snip Single Corner Rectangle 9">
            <a:extLst>
              <a:ext uri="{FF2B5EF4-FFF2-40B4-BE49-F238E27FC236}">
                <a16:creationId xmlns:a16="http://schemas.microsoft.com/office/drawing/2014/main" id="{53846CC0-2AEA-FFAD-9395-BA921E0FA5D5}"/>
              </a:ext>
            </a:extLst>
          </p:cNvPr>
          <p:cNvSpPr/>
          <p:nvPr/>
        </p:nvSpPr>
        <p:spPr>
          <a:xfrm>
            <a:off x="6328783" y="1398812"/>
            <a:ext cx="2318271" cy="2218053"/>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t>
            </a:r>
          </a:p>
        </p:txBody>
      </p:sp>
      <p:sp>
        <p:nvSpPr>
          <p:cNvPr id="11" name="Snip Single Corner Rectangle 10">
            <a:extLst>
              <a:ext uri="{FF2B5EF4-FFF2-40B4-BE49-F238E27FC236}">
                <a16:creationId xmlns:a16="http://schemas.microsoft.com/office/drawing/2014/main" id="{B84F351E-3DA9-9A3D-97E6-2F4380D2899D}"/>
              </a:ext>
            </a:extLst>
          </p:cNvPr>
          <p:cNvSpPr/>
          <p:nvPr/>
        </p:nvSpPr>
        <p:spPr>
          <a:xfrm>
            <a:off x="3647552" y="1398812"/>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n animation service can be called to identify special game events</a:t>
            </a:r>
          </a:p>
        </p:txBody>
      </p:sp>
      <p:sp>
        <p:nvSpPr>
          <p:cNvPr id="4" name="Snip Single Corner Rectangle 3">
            <a:extLst>
              <a:ext uri="{FF2B5EF4-FFF2-40B4-BE49-F238E27FC236}">
                <a16:creationId xmlns:a16="http://schemas.microsoft.com/office/drawing/2014/main" id="{2D9750FE-CA7F-9AAC-AF5B-1D7277F43813}"/>
              </a:ext>
            </a:extLst>
          </p:cNvPr>
          <p:cNvSpPr/>
          <p:nvPr/>
        </p:nvSpPr>
        <p:spPr>
          <a:xfrm>
            <a:off x="966322" y="1441381"/>
            <a:ext cx="2318272" cy="2218054"/>
          </a:xfrm>
          <a:prstGeom prst="snip1Rect">
            <a:avLst/>
          </a:prstGeom>
          <a:solidFill>
            <a:schemeClr val="accent5"/>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sz="2000" dirty="0"/>
              <a:t>An animation service can be called to identify special pin patterns</a:t>
            </a:r>
          </a:p>
        </p:txBody>
      </p:sp>
    </p:spTree>
    <p:extLst>
      <p:ext uri="{BB962C8B-B14F-4D97-AF65-F5344CB8AC3E}">
        <p14:creationId xmlns:p14="http://schemas.microsoft.com/office/powerpoint/2010/main" val="585610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0F2803-4575-D7CC-FA86-190ECD2E9389}"/>
              </a:ext>
            </a:extLst>
          </p:cNvPr>
          <p:cNvSpPr>
            <a:spLocks noGrp="1"/>
          </p:cNvSpPr>
          <p:nvPr>
            <p:ph type="sldNum" sz="quarter" idx="11"/>
          </p:nvPr>
        </p:nvSpPr>
        <p:spPr/>
        <p:txBody>
          <a:bodyPr/>
          <a:lstStyle/>
          <a:p>
            <a:fld id="{C50CBA42-791E-4851-9FB4-39A223136DC3}" type="slidenum">
              <a:rPr lang="de-DE" smtClean="0"/>
              <a:t>3</a:t>
            </a:fld>
            <a:endParaRPr lang="de-DE"/>
          </a:p>
        </p:txBody>
      </p:sp>
      <p:sp>
        <p:nvSpPr>
          <p:cNvPr id="3" name="Text Placeholder 2">
            <a:extLst>
              <a:ext uri="{FF2B5EF4-FFF2-40B4-BE49-F238E27FC236}">
                <a16:creationId xmlns:a16="http://schemas.microsoft.com/office/drawing/2014/main" id="{1F9AC40C-8C02-2196-AFFD-4C292C611E29}"/>
              </a:ext>
            </a:extLst>
          </p:cNvPr>
          <p:cNvSpPr>
            <a:spLocks noGrp="1"/>
          </p:cNvSpPr>
          <p:nvPr>
            <p:ph type="body" sz="quarter" idx="15"/>
          </p:nvPr>
        </p:nvSpPr>
        <p:spPr>
          <a:xfrm>
            <a:off x="479424" y="340366"/>
            <a:ext cx="9509760" cy="246221"/>
          </a:xfrm>
        </p:spPr>
        <p:txBody>
          <a:bodyPr/>
          <a:lstStyle/>
          <a:p>
            <a:r>
              <a:rPr lang="en-US" dirty="0"/>
              <a:t>Origin</a:t>
            </a:r>
          </a:p>
        </p:txBody>
      </p:sp>
      <p:sp>
        <p:nvSpPr>
          <p:cNvPr id="4" name="Content Placeholder 3">
            <a:extLst>
              <a:ext uri="{FF2B5EF4-FFF2-40B4-BE49-F238E27FC236}">
                <a16:creationId xmlns:a16="http://schemas.microsoft.com/office/drawing/2014/main" id="{5E6F4F80-622C-7FD5-5140-B259C2F80554}"/>
              </a:ext>
            </a:extLst>
          </p:cNvPr>
          <p:cNvSpPr>
            <a:spLocks noGrp="1"/>
          </p:cNvSpPr>
          <p:nvPr>
            <p:ph sz="quarter" idx="17"/>
          </p:nvPr>
        </p:nvSpPr>
        <p:spPr/>
        <p:txBody>
          <a:bodyPr/>
          <a:lstStyle/>
          <a:p>
            <a:r>
              <a:rPr lang="en-US" b="0" dirty="0"/>
              <a:t>Today a usual technique is to make a program and then to test it. But: program testing can be a very effective way to show the presence of bugs, but is hopelessly inadequate for showing their absence. The only effective way to raise the confidence level of a program significantly is to give a convincing proof of its correctness.</a:t>
            </a:r>
          </a:p>
          <a:p>
            <a:r>
              <a:rPr lang="en-US" b="0" dirty="0"/>
              <a:t>But one should not first make the program and then prove its correctness, because then the requirement of providing the proof would only increase the poor programmer’s burden. On the contrary: </a:t>
            </a:r>
            <a:r>
              <a:rPr lang="en-US" dirty="0"/>
              <a:t>the programmer should let correctness proof and program grow hand in hand. […]</a:t>
            </a:r>
          </a:p>
          <a:p>
            <a:r>
              <a:rPr lang="en-US" b="0" dirty="0"/>
              <a:t>If one first asks oneself what the structure of a convincing proof would be and, having found this, then constructs a program satisfying this proof’s requirements, then these correctness concerns turn out to be a very effective heuristic guidance. </a:t>
            </a:r>
          </a:p>
          <a:p>
            <a:pPr algn="r"/>
            <a:r>
              <a:rPr lang="en-US" dirty="0">
                <a:hlinkClick r:id="rId2" tooltip="The Humble Programmer"/>
              </a:rPr>
              <a:t>The Humble Programmer</a:t>
            </a:r>
            <a:r>
              <a:rPr lang="en-US" dirty="0"/>
              <a:t>, </a:t>
            </a:r>
            <a:r>
              <a:rPr lang="en-US" dirty="0" err="1"/>
              <a:t>Edsger</a:t>
            </a:r>
            <a:r>
              <a:rPr lang="en-US" dirty="0"/>
              <a:t> W. Dijkstra, </a:t>
            </a:r>
            <a:r>
              <a:rPr lang="en-US" b="1" dirty="0"/>
              <a:t>1972</a:t>
            </a:r>
            <a:endParaRPr lang="en-US" b="0" dirty="0"/>
          </a:p>
        </p:txBody>
      </p:sp>
      <p:sp>
        <p:nvSpPr>
          <p:cNvPr id="5" name="Footer Placeholder 4">
            <a:extLst>
              <a:ext uri="{FF2B5EF4-FFF2-40B4-BE49-F238E27FC236}">
                <a16:creationId xmlns:a16="http://schemas.microsoft.com/office/drawing/2014/main" id="{0CA3EF2F-BB7C-860D-F8C4-A15D804154C0}"/>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04F9C7A-5A88-E7BB-AA37-D7C36750E38F}"/>
              </a:ext>
            </a:extLst>
          </p:cNvPr>
          <p:cNvSpPr>
            <a:spLocks noGrp="1"/>
          </p:cNvSpPr>
          <p:nvPr>
            <p:ph type="title"/>
          </p:nvPr>
        </p:nvSpPr>
        <p:spPr/>
        <p:txBody>
          <a:bodyPr/>
          <a:lstStyle/>
          <a:p>
            <a:r>
              <a:rPr lang="en-US" dirty="0"/>
              <a:t>Did he really?</a:t>
            </a:r>
            <a:endParaRPr lang="en-DE" dirty="0"/>
          </a:p>
        </p:txBody>
      </p:sp>
      <p:sp>
        <p:nvSpPr>
          <p:cNvPr id="7" name="Date Placeholder 6">
            <a:extLst>
              <a:ext uri="{FF2B5EF4-FFF2-40B4-BE49-F238E27FC236}">
                <a16:creationId xmlns:a16="http://schemas.microsoft.com/office/drawing/2014/main" id="{F62C3249-0D66-696A-43BD-092EE0AA7214}"/>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437132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0F2803-4575-D7CC-FA86-190ECD2E9389}"/>
              </a:ext>
            </a:extLst>
          </p:cNvPr>
          <p:cNvSpPr>
            <a:spLocks noGrp="1"/>
          </p:cNvSpPr>
          <p:nvPr>
            <p:ph type="sldNum" sz="quarter" idx="11"/>
          </p:nvPr>
        </p:nvSpPr>
        <p:spPr/>
        <p:txBody>
          <a:bodyPr/>
          <a:lstStyle/>
          <a:p>
            <a:fld id="{C50CBA42-791E-4851-9FB4-39A223136DC3}" type="slidenum">
              <a:rPr lang="de-DE" smtClean="0"/>
              <a:t>4</a:t>
            </a:fld>
            <a:endParaRPr lang="de-DE"/>
          </a:p>
        </p:txBody>
      </p:sp>
      <p:sp>
        <p:nvSpPr>
          <p:cNvPr id="3" name="Text Placeholder 2">
            <a:extLst>
              <a:ext uri="{FF2B5EF4-FFF2-40B4-BE49-F238E27FC236}">
                <a16:creationId xmlns:a16="http://schemas.microsoft.com/office/drawing/2014/main" id="{1F9AC40C-8C02-2196-AFFD-4C292C611E29}"/>
              </a:ext>
            </a:extLst>
          </p:cNvPr>
          <p:cNvSpPr>
            <a:spLocks noGrp="1"/>
          </p:cNvSpPr>
          <p:nvPr>
            <p:ph type="body" sz="quarter" idx="15"/>
          </p:nvPr>
        </p:nvSpPr>
        <p:spPr>
          <a:xfrm>
            <a:off x="479424" y="340366"/>
            <a:ext cx="9509760" cy="246221"/>
          </a:xfrm>
        </p:spPr>
        <p:txBody>
          <a:bodyPr/>
          <a:lstStyle/>
          <a:p>
            <a:r>
              <a:rPr lang="en-US" dirty="0"/>
              <a:t>Origin</a:t>
            </a:r>
          </a:p>
        </p:txBody>
      </p:sp>
      <p:sp>
        <p:nvSpPr>
          <p:cNvPr id="4" name="Content Placeholder 3">
            <a:extLst>
              <a:ext uri="{FF2B5EF4-FFF2-40B4-BE49-F238E27FC236}">
                <a16:creationId xmlns:a16="http://schemas.microsoft.com/office/drawing/2014/main" id="{5E6F4F80-622C-7FD5-5140-B259C2F80554}"/>
              </a:ext>
            </a:extLst>
          </p:cNvPr>
          <p:cNvSpPr>
            <a:spLocks noGrp="1"/>
          </p:cNvSpPr>
          <p:nvPr>
            <p:ph sz="quarter" idx="17"/>
          </p:nvPr>
        </p:nvSpPr>
        <p:spPr/>
        <p:txBody>
          <a:bodyPr/>
          <a:lstStyle/>
          <a:p>
            <a:r>
              <a:rPr lang="en-US" sz="1800" dirty="0"/>
              <a:t>A software system can best be designed if the testing is interlaced with the designing instead of being used after the design.</a:t>
            </a:r>
            <a:r>
              <a:rPr lang="en-US" sz="1800" b="0" dirty="0"/>
              <a:t> Through successive repetitions of this process of interlaced testing and design the model ultimately becomes the software system itself. I think that it is the key of the approach that has been suggested, that there is no such question as testing things after the fact with simulation models, but that in effect the testing and the replacement of simulations with modules that are deeper and more detailed goes on with the simulation model controlling, as it were, the place and order in which these things are done.</a:t>
            </a:r>
          </a:p>
          <a:p>
            <a:pPr algn="r"/>
            <a:r>
              <a:rPr lang="en-US" dirty="0">
                <a:hlinkClick r:id="rId2" tooltip="nato1968"/>
              </a:rPr>
              <a:t>Report of The Nato Software Engineering Conference, </a:t>
            </a:r>
            <a:r>
              <a:rPr lang="en-US" dirty="0"/>
              <a:t>1968</a:t>
            </a:r>
            <a:endParaRPr lang="en-US" b="0" dirty="0"/>
          </a:p>
        </p:txBody>
      </p:sp>
      <p:sp>
        <p:nvSpPr>
          <p:cNvPr id="5" name="Footer Placeholder 4">
            <a:extLst>
              <a:ext uri="{FF2B5EF4-FFF2-40B4-BE49-F238E27FC236}">
                <a16:creationId xmlns:a16="http://schemas.microsoft.com/office/drawing/2014/main" id="{0CA3EF2F-BB7C-860D-F8C4-A15D804154C0}"/>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04F9C7A-5A88-E7BB-AA37-D7C36750E38F}"/>
              </a:ext>
            </a:extLst>
          </p:cNvPr>
          <p:cNvSpPr>
            <a:spLocks noGrp="1"/>
          </p:cNvSpPr>
          <p:nvPr>
            <p:ph type="title"/>
          </p:nvPr>
        </p:nvSpPr>
        <p:spPr/>
        <p:txBody>
          <a:bodyPr/>
          <a:lstStyle/>
          <a:p>
            <a:r>
              <a:rPr lang="en-US" dirty="0"/>
              <a:t>Even older?</a:t>
            </a:r>
            <a:endParaRPr lang="en-DE" dirty="0"/>
          </a:p>
        </p:txBody>
      </p:sp>
      <p:sp>
        <p:nvSpPr>
          <p:cNvPr id="7" name="Date Placeholder 6">
            <a:extLst>
              <a:ext uri="{FF2B5EF4-FFF2-40B4-BE49-F238E27FC236}">
                <a16:creationId xmlns:a16="http://schemas.microsoft.com/office/drawing/2014/main" id="{F62C3249-0D66-696A-43BD-092EE0AA7214}"/>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903518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0F2803-4575-D7CC-FA86-190ECD2E9389}"/>
              </a:ext>
            </a:extLst>
          </p:cNvPr>
          <p:cNvSpPr>
            <a:spLocks noGrp="1"/>
          </p:cNvSpPr>
          <p:nvPr>
            <p:ph type="sldNum" sz="quarter" idx="11"/>
          </p:nvPr>
        </p:nvSpPr>
        <p:spPr/>
        <p:txBody>
          <a:bodyPr/>
          <a:lstStyle/>
          <a:p>
            <a:fld id="{C50CBA42-791E-4851-9FB4-39A223136DC3}" type="slidenum">
              <a:rPr lang="de-DE" smtClean="0"/>
              <a:t>5</a:t>
            </a:fld>
            <a:endParaRPr lang="de-DE"/>
          </a:p>
        </p:txBody>
      </p:sp>
      <p:sp>
        <p:nvSpPr>
          <p:cNvPr id="3" name="Text Placeholder 2">
            <a:extLst>
              <a:ext uri="{FF2B5EF4-FFF2-40B4-BE49-F238E27FC236}">
                <a16:creationId xmlns:a16="http://schemas.microsoft.com/office/drawing/2014/main" id="{1F9AC40C-8C02-2196-AFFD-4C292C611E29}"/>
              </a:ext>
            </a:extLst>
          </p:cNvPr>
          <p:cNvSpPr>
            <a:spLocks noGrp="1"/>
          </p:cNvSpPr>
          <p:nvPr>
            <p:ph type="body" sz="quarter" idx="15"/>
          </p:nvPr>
        </p:nvSpPr>
        <p:spPr>
          <a:xfrm>
            <a:off x="479424" y="340366"/>
            <a:ext cx="9509760" cy="246221"/>
          </a:xfrm>
        </p:spPr>
        <p:txBody>
          <a:bodyPr/>
          <a:lstStyle/>
          <a:p>
            <a:r>
              <a:rPr lang="en-US" dirty="0"/>
              <a:t>Origin</a:t>
            </a:r>
          </a:p>
        </p:txBody>
      </p:sp>
      <p:sp>
        <p:nvSpPr>
          <p:cNvPr id="4" name="Content Placeholder 3">
            <a:extLst>
              <a:ext uri="{FF2B5EF4-FFF2-40B4-BE49-F238E27FC236}">
                <a16:creationId xmlns:a16="http://schemas.microsoft.com/office/drawing/2014/main" id="{5E6F4F80-622C-7FD5-5140-B259C2F80554}"/>
              </a:ext>
            </a:extLst>
          </p:cNvPr>
          <p:cNvSpPr>
            <a:spLocks noGrp="1"/>
          </p:cNvSpPr>
          <p:nvPr>
            <p:ph sz="quarter" idx="17"/>
          </p:nvPr>
        </p:nvSpPr>
        <p:spPr/>
        <p:txBody>
          <a:bodyPr/>
          <a:lstStyle/>
          <a:p>
            <a:r>
              <a:rPr lang="en-US" sz="1800" b="0" dirty="0"/>
              <a:t>The first attack on the checkout problem may be made before coding is begun. </a:t>
            </a:r>
            <a:r>
              <a:rPr lang="en-US" sz="1800" dirty="0"/>
              <a:t>In order to fully ascertain the accuracy of the answers, it is necessary to have a hand-calculated. check case with which to compare the answers which will later be calculated by the machine. </a:t>
            </a:r>
            <a:r>
              <a:rPr lang="en-US" sz="1800" b="0" dirty="0"/>
              <a:t>This means that stored program machines are never used for a true one-shot problem. There must always be an element of iteration to make it pay. The hand calculations can be done at any point during programming. Frequently, however, computers are operated by computing experts to prepare the problems as a service for engineers or scientists. </a:t>
            </a:r>
            <a:r>
              <a:rPr lang="en-US" sz="1800" dirty="0"/>
              <a:t>In these cases it is highly desirable that the “customer” prepare the check case, largely because logical errors and misunderstandings between the programmer and customer may be pointed out by such procedure. </a:t>
            </a:r>
            <a:r>
              <a:rPr lang="en-US" sz="1800" b="0" dirty="0"/>
              <a:t>If the customer is to prepare the test solution is best for him to start well in advance of actual checkout, since for any sizable problem it will take several days or weeks to and calculate the test.</a:t>
            </a:r>
          </a:p>
          <a:p>
            <a:pPr algn="r"/>
            <a:r>
              <a:rPr lang="en-US" dirty="0"/>
              <a:t>Digital Computer Programming D.D. McCracken, 1957 </a:t>
            </a:r>
            <a:endParaRPr lang="en-US" b="0" dirty="0"/>
          </a:p>
        </p:txBody>
      </p:sp>
      <p:sp>
        <p:nvSpPr>
          <p:cNvPr id="5" name="Footer Placeholder 4">
            <a:extLst>
              <a:ext uri="{FF2B5EF4-FFF2-40B4-BE49-F238E27FC236}">
                <a16:creationId xmlns:a16="http://schemas.microsoft.com/office/drawing/2014/main" id="{0CA3EF2F-BB7C-860D-F8C4-A15D804154C0}"/>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04F9C7A-5A88-E7BB-AA37-D7C36750E38F}"/>
              </a:ext>
            </a:extLst>
          </p:cNvPr>
          <p:cNvSpPr>
            <a:spLocks noGrp="1"/>
          </p:cNvSpPr>
          <p:nvPr>
            <p:ph type="title"/>
          </p:nvPr>
        </p:nvSpPr>
        <p:spPr/>
        <p:txBody>
          <a:bodyPr/>
          <a:lstStyle/>
          <a:p>
            <a:r>
              <a:rPr lang="en-US" dirty="0"/>
              <a:t>Come on …</a:t>
            </a:r>
            <a:endParaRPr lang="en-DE" dirty="0"/>
          </a:p>
        </p:txBody>
      </p:sp>
      <p:sp>
        <p:nvSpPr>
          <p:cNvPr id="7" name="Date Placeholder 6">
            <a:extLst>
              <a:ext uri="{FF2B5EF4-FFF2-40B4-BE49-F238E27FC236}">
                <a16:creationId xmlns:a16="http://schemas.microsoft.com/office/drawing/2014/main" id="{F62C3249-0D66-696A-43BD-092EE0AA7214}"/>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32955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EB9E48-716D-91E2-38F5-9AE6F447E2ED}"/>
              </a:ext>
            </a:extLst>
          </p:cNvPr>
          <p:cNvSpPr>
            <a:spLocks noGrp="1"/>
          </p:cNvSpPr>
          <p:nvPr>
            <p:ph type="sldNum" sz="quarter" idx="11"/>
          </p:nvPr>
        </p:nvSpPr>
        <p:spPr/>
        <p:txBody>
          <a:bodyPr/>
          <a:lstStyle/>
          <a:p>
            <a:fld id="{C50CBA42-791E-4851-9FB4-39A223136DC3}" type="slidenum">
              <a:rPr lang="de-DE" smtClean="0"/>
              <a:t>6</a:t>
            </a:fld>
            <a:endParaRPr lang="de-DE"/>
          </a:p>
        </p:txBody>
      </p:sp>
      <p:sp>
        <p:nvSpPr>
          <p:cNvPr id="3" name="Text Placeholder 2">
            <a:extLst>
              <a:ext uri="{FF2B5EF4-FFF2-40B4-BE49-F238E27FC236}">
                <a16:creationId xmlns:a16="http://schemas.microsoft.com/office/drawing/2014/main" id="{DDE65843-6575-ACBD-1DE6-156A1D7D8EB8}"/>
              </a:ext>
            </a:extLst>
          </p:cNvPr>
          <p:cNvSpPr>
            <a:spLocks noGrp="1"/>
          </p:cNvSpPr>
          <p:nvPr>
            <p:ph type="body" sz="quarter" idx="15"/>
          </p:nvPr>
        </p:nvSpPr>
        <p:spPr>
          <a:xfrm>
            <a:off x="479424" y="340366"/>
            <a:ext cx="9509760" cy="246221"/>
          </a:xfrm>
        </p:spPr>
        <p:txBody>
          <a:bodyPr/>
          <a:lstStyle/>
          <a:p>
            <a:r>
              <a:rPr lang="en-US" dirty="0"/>
              <a:t>Origin</a:t>
            </a:r>
            <a:endParaRPr lang="en-DE" dirty="0"/>
          </a:p>
        </p:txBody>
      </p:sp>
      <p:sp>
        <p:nvSpPr>
          <p:cNvPr id="4" name="Content Placeholder 3">
            <a:extLst>
              <a:ext uri="{FF2B5EF4-FFF2-40B4-BE49-F238E27FC236}">
                <a16:creationId xmlns:a16="http://schemas.microsoft.com/office/drawing/2014/main" id="{CDD8B33E-0423-73F0-9B27-333AC44536A1}"/>
              </a:ext>
            </a:extLst>
          </p:cNvPr>
          <p:cNvSpPr>
            <a:spLocks noGrp="1"/>
          </p:cNvSpPr>
          <p:nvPr>
            <p:ph sz="quarter" idx="17"/>
          </p:nvPr>
        </p:nvSpPr>
        <p:spPr>
          <a:xfrm>
            <a:off x="479423" y="1775816"/>
            <a:ext cx="7549761" cy="4510684"/>
          </a:xfrm>
        </p:spPr>
        <p:txBody>
          <a:bodyPr/>
          <a:lstStyle/>
          <a:p>
            <a:r>
              <a:rPr lang="en-US" b="1" dirty="0"/>
              <a:t>Gerald M. Weinberg:</a:t>
            </a:r>
          </a:p>
          <a:p>
            <a:r>
              <a:rPr lang="en-US" b="0" dirty="0"/>
              <a:t>I learned it from Bernie </a:t>
            </a:r>
            <a:r>
              <a:rPr lang="en-US" b="0" dirty="0" err="1"/>
              <a:t>Dimsdale</a:t>
            </a:r>
            <a:r>
              <a:rPr lang="en-US" b="0" dirty="0"/>
              <a:t>, who learned it from von Neumann.</a:t>
            </a:r>
          </a:p>
          <a:p>
            <a:r>
              <a:rPr lang="en-US" b="0" dirty="0"/>
              <a:t>When I started in computing, I had nobody to teach me programming, so I read the manuals and taught myself. I thought I was pretty good, then I ran into Bernie (in 1957), who showed me how the really smart people did things. My ego was a bit shocked at first, but then I figured out that if </a:t>
            </a:r>
            <a:r>
              <a:rPr lang="en-US" dirty="0"/>
              <a:t>von Neumann </a:t>
            </a:r>
            <a:r>
              <a:rPr lang="en-US" b="0" dirty="0"/>
              <a:t>did things this way, I should.</a:t>
            </a:r>
          </a:p>
        </p:txBody>
      </p:sp>
      <p:sp>
        <p:nvSpPr>
          <p:cNvPr id="5" name="Footer Placeholder 4">
            <a:extLst>
              <a:ext uri="{FF2B5EF4-FFF2-40B4-BE49-F238E27FC236}">
                <a16:creationId xmlns:a16="http://schemas.microsoft.com/office/drawing/2014/main" id="{F30E10D4-37AB-4D72-269F-3F01DD1A7FBB}"/>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1C21ED8-BE33-19A4-9A81-2CD7D8BE1F92}"/>
              </a:ext>
            </a:extLst>
          </p:cNvPr>
          <p:cNvSpPr>
            <a:spLocks noGrp="1"/>
          </p:cNvSpPr>
          <p:nvPr>
            <p:ph type="title"/>
          </p:nvPr>
        </p:nvSpPr>
        <p:spPr/>
        <p:txBody>
          <a:bodyPr/>
          <a:lstStyle/>
          <a:p>
            <a:r>
              <a:rPr lang="en-US" dirty="0"/>
              <a:t>The real OG</a:t>
            </a:r>
            <a:endParaRPr lang="en-DE" dirty="0"/>
          </a:p>
        </p:txBody>
      </p:sp>
      <p:sp>
        <p:nvSpPr>
          <p:cNvPr id="7" name="Date Placeholder 6">
            <a:extLst>
              <a:ext uri="{FF2B5EF4-FFF2-40B4-BE49-F238E27FC236}">
                <a16:creationId xmlns:a16="http://schemas.microsoft.com/office/drawing/2014/main" id="{9F4FC6EC-F88C-6494-C29B-336FD96079CC}"/>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pic>
        <p:nvPicPr>
          <p:cNvPr id="31746" name="Picture 2" descr="John von Neumann">
            <a:extLst>
              <a:ext uri="{FF2B5EF4-FFF2-40B4-BE49-F238E27FC236}">
                <a16:creationId xmlns:a16="http://schemas.microsoft.com/office/drawing/2014/main" id="{035A4F77-1966-A0CC-F8C6-3D7D04C16B5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7945" b="98359" l="3250" r="97750">
                        <a14:foregroundMark x1="26167" y1="24951" x2="42500" y2="14839"/>
                        <a14:foregroundMark x1="42500" y1="14839" x2="50750" y2="11556"/>
                        <a14:foregroundMark x1="50750" y1="11556" x2="62500" y2="12410"/>
                        <a14:foregroundMark x1="62500" y1="12410" x2="70667" y2="16415"/>
                        <a14:foregroundMark x1="70667" y1="16415" x2="78000" y2="33093"/>
                        <a14:foregroundMark x1="79083" y1="35062" x2="77667" y2="19895"/>
                        <a14:foregroundMark x1="77667" y1="19895" x2="77500" y2="19567"/>
                        <a14:foregroundMark x1="71750" y1="12672" x2="64333" y2="11162"/>
                        <a14:foregroundMark x1="38167" y1="13132" x2="34917" y2="14642"/>
                        <a14:foregroundMark x1="66333" y1="8995" x2="74917" y2="13132"/>
                        <a14:foregroundMark x1="42750" y1="8864" x2="40333" y2="10309"/>
                        <a14:foregroundMark x1="38500" y1="11228" x2="35000" y2="13329"/>
                        <a14:foregroundMark x1="24500" y1="27052" x2="24417" y2="29087"/>
                        <a14:foregroundMark x1="24500" y1="37229" x2="27333" y2="44517"/>
                        <a14:foregroundMark x1="37750" y1="45831" x2="61250" y2="43401"/>
                        <a14:foregroundMark x1="61250" y1="43401" x2="37083" y2="42810"/>
                        <a14:foregroundMark x1="37083" y1="42810" x2="35167" y2="43139"/>
                        <a14:foregroundMark x1="84583" y1="36376" x2="84583" y2="43992"/>
                        <a14:foregroundMark x1="45417" y1="67958" x2="58083" y2="68943"/>
                        <a14:foregroundMark x1="58083" y1="68943" x2="48583" y2="82994"/>
                        <a14:foregroundMark x1="48583" y1="82994" x2="38167" y2="88575"/>
                        <a14:foregroundMark x1="38167" y1="88575" x2="27500" y2="87262"/>
                        <a14:foregroundMark x1="27500" y1="87262" x2="35833" y2="83848"/>
                        <a14:foregroundMark x1="35833" y1="83848" x2="83583" y2="78858"/>
                        <a14:foregroundMark x1="83000" y1="68024" x2="82417" y2="76034"/>
                        <a14:foregroundMark x1="82417" y1="76034" x2="74667" y2="82797"/>
                        <a14:foregroundMark x1="74667" y1="82797" x2="66083" y2="86474"/>
                        <a14:foregroundMark x1="66083" y1="86474" x2="49000" y2="86080"/>
                        <a14:foregroundMark x1="49000" y1="86080" x2="25500" y2="81353"/>
                        <a14:foregroundMark x1="25500" y1="81353" x2="19750" y2="72751"/>
                        <a14:foregroundMark x1="19750" y1="72751" x2="19750" y2="65660"/>
                        <a14:foregroundMark x1="19750" y1="65660" x2="16250" y2="83979"/>
                        <a14:foregroundMark x1="8833" y1="90742" x2="8083" y2="81484"/>
                        <a14:foregroundMark x1="8083" y1="81484" x2="14750" y2="66579"/>
                        <a14:foregroundMark x1="14750" y1="66579" x2="15333" y2="65923"/>
                        <a14:foregroundMark x1="8417" y1="68812" x2="5667" y2="87525"/>
                        <a14:foregroundMark x1="39333" y1="93237" x2="51417" y2="93303"/>
                        <a14:foregroundMark x1="51417" y1="93303" x2="79750" y2="87131"/>
                        <a14:foregroundMark x1="79750" y1="87131" x2="82417" y2="82600"/>
                        <a14:foregroundMark x1="86167" y1="64412" x2="93083" y2="70125"/>
                        <a14:foregroundMark x1="93083" y1="70125" x2="93250" y2="78267"/>
                        <a14:foregroundMark x1="93250" y1="78267" x2="86000" y2="91464"/>
                        <a14:foregroundMark x1="86000" y1="91464" x2="85833" y2="91464"/>
                        <a14:foregroundMark x1="94333" y1="67761" x2="95583" y2="85555"/>
                        <a14:foregroundMark x1="95750" y1="65200" x2="97750" y2="72620"/>
                        <a14:foregroundMark x1="97750" y1="72620" x2="97500" y2="73539"/>
                        <a14:foregroundMark x1="94417" y1="94091" x2="51833" y2="94091"/>
                        <a14:foregroundMark x1="51833" y1="94091" x2="48833" y2="91727"/>
                        <a14:foregroundMark x1="78083" y1="98621" x2="25333" y2="98359"/>
                        <a14:foregroundMark x1="25333" y1="98359" x2="23417" y2="96783"/>
                        <a14:foregroundMark x1="3250" y1="70716" x2="4167" y2="86408"/>
                        <a14:foregroundMark x1="3667" y1="66776" x2="9250" y2="64609"/>
                        <a14:foregroundMark x1="13417" y1="63033" x2="25083" y2="58437"/>
                        <a14:foregroundMark x1="46833" y1="7945" x2="46833" y2="7945"/>
                        <a14:foregroundMark x1="44583" y1="8273" x2="44583" y2="8273"/>
                        <a14:foregroundMark x1="36917" y1="34471" x2="39000" y2="42219"/>
                        <a14:foregroundMark x1="39000" y1="42219" x2="39583" y2="43073"/>
                        <a14:foregroundMark x1="62917" y1="9192" x2="62917" y2="9192"/>
                        <a14:foregroundMark x1="63250" y1="8142" x2="63250" y2="8142"/>
                        <a14:foregroundMark x1="67667" y1="9061" x2="67667" y2="9061"/>
                        <a14:foregroundMark x1="69000" y1="9324" x2="69000" y2="9324"/>
                        <a14:foregroundMark x1="65000" y1="8273" x2="65000" y2="8273"/>
                        <a14:foregroundMark x1="75583" y1="13132" x2="77167" y2="14708"/>
                        <a14:foregroundMark x1="78833" y1="17531" x2="83500" y2="23703"/>
                        <a14:foregroundMark x1="83500" y1="23703" x2="83250" y2="28825"/>
                        <a14:foregroundMark x1="38750" y1="10768" x2="38750" y2="10768"/>
                        <a14:foregroundMark x1="39500" y1="10506" x2="32583" y2="14773"/>
                        <a14:foregroundMark x1="32583" y1="14773" x2="31500" y2="16875"/>
                        <a14:backgroundMark x1="1583" y1="65266" x2="10000" y2="56205"/>
                        <a14:backgroundMark x1="1833" y1="65660" x2="250" y2="67564"/>
                      </a14:backgroundRemoval>
                    </a14:imgEffect>
                  </a14:imgLayer>
                </a14:imgProps>
              </a:ext>
              <a:ext uri="{28A0092B-C50C-407E-A947-70E740481C1C}">
                <a14:useLocalDpi xmlns:a14="http://schemas.microsoft.com/office/drawing/2010/main" val="0"/>
              </a:ext>
            </a:extLst>
          </a:blip>
          <a:srcRect/>
          <a:stretch>
            <a:fillRect/>
          </a:stretch>
        </p:blipFill>
        <p:spPr bwMode="auto">
          <a:xfrm>
            <a:off x="8265440" y="1775816"/>
            <a:ext cx="3382545" cy="4292771"/>
          </a:xfrm>
          <a:prstGeom prst="rect">
            <a:avLst/>
          </a:prstGeom>
          <a:noFill/>
          <a:extLst>
            <a:ext uri="{909E8E84-426E-40DD-AFC4-6F175D3DCCD1}">
              <a14:hiddenFill xmlns:a14="http://schemas.microsoft.com/office/drawing/2010/main">
                <a:solidFill>
                  <a:srgbClr val="FFFFFF"/>
                </a:solidFill>
              </a14:hiddenFill>
            </a:ext>
          </a:extLst>
        </p:spPr>
      </p:pic>
      <p:pic>
        <p:nvPicPr>
          <p:cNvPr id="31748" name="Picture 4" descr="Pixel Sunglasses PNG on Transparent Background - Free Cliparts">
            <a:extLst>
              <a:ext uri="{FF2B5EF4-FFF2-40B4-BE49-F238E27FC236}">
                <a16:creationId xmlns:a16="http://schemas.microsoft.com/office/drawing/2014/main" id="{C7009D1C-4CE1-666B-6421-50823F0240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57001" y="2893512"/>
            <a:ext cx="2710798" cy="1479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2029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748"/>
                                        </p:tgtEl>
                                        <p:attrNameLst>
                                          <p:attrName>style.visibility</p:attrName>
                                        </p:attrNameLst>
                                      </p:cBhvr>
                                      <p:to>
                                        <p:strVal val="visible"/>
                                      </p:to>
                                    </p:set>
                                    <p:anim calcmode="lin" valueType="num">
                                      <p:cBhvr additive="base">
                                        <p:cTn id="7" dur="500" fill="hold"/>
                                        <p:tgtEl>
                                          <p:spTgt spid="31748"/>
                                        </p:tgtEl>
                                        <p:attrNameLst>
                                          <p:attrName>ppt_x</p:attrName>
                                        </p:attrNameLst>
                                      </p:cBhvr>
                                      <p:tavLst>
                                        <p:tav tm="0">
                                          <p:val>
                                            <p:strVal val="#ppt_x"/>
                                          </p:val>
                                        </p:tav>
                                        <p:tav tm="100000">
                                          <p:val>
                                            <p:strVal val="#ppt_x"/>
                                          </p:val>
                                        </p:tav>
                                      </p:tavLst>
                                    </p:anim>
                                    <p:anim calcmode="lin" valueType="num">
                                      <p:cBhvr additive="base">
                                        <p:cTn id="8" dur="500" fill="hold"/>
                                        <p:tgtEl>
                                          <p:spTgt spid="317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0F2803-4575-D7CC-FA86-190ECD2E9389}"/>
              </a:ext>
            </a:extLst>
          </p:cNvPr>
          <p:cNvSpPr>
            <a:spLocks noGrp="1"/>
          </p:cNvSpPr>
          <p:nvPr>
            <p:ph type="sldNum" sz="quarter" idx="11"/>
          </p:nvPr>
        </p:nvSpPr>
        <p:spPr/>
        <p:txBody>
          <a:bodyPr/>
          <a:lstStyle/>
          <a:p>
            <a:fld id="{C50CBA42-791E-4851-9FB4-39A223136DC3}" type="slidenum">
              <a:rPr lang="de-DE" smtClean="0"/>
              <a:t>7</a:t>
            </a:fld>
            <a:endParaRPr lang="de-DE"/>
          </a:p>
        </p:txBody>
      </p:sp>
      <p:sp>
        <p:nvSpPr>
          <p:cNvPr id="3" name="Text Placeholder 2">
            <a:extLst>
              <a:ext uri="{FF2B5EF4-FFF2-40B4-BE49-F238E27FC236}">
                <a16:creationId xmlns:a16="http://schemas.microsoft.com/office/drawing/2014/main" id="{1F9AC40C-8C02-2196-AFFD-4C292C611E29}"/>
              </a:ext>
            </a:extLst>
          </p:cNvPr>
          <p:cNvSpPr>
            <a:spLocks noGrp="1"/>
          </p:cNvSpPr>
          <p:nvPr>
            <p:ph type="body" sz="quarter" idx="15"/>
          </p:nvPr>
        </p:nvSpPr>
        <p:spPr>
          <a:xfrm>
            <a:off x="479424" y="340366"/>
            <a:ext cx="9509760" cy="246221"/>
          </a:xfrm>
        </p:spPr>
        <p:txBody>
          <a:bodyPr/>
          <a:lstStyle/>
          <a:p>
            <a:r>
              <a:rPr lang="en-US" dirty="0"/>
              <a:t>Origin</a:t>
            </a:r>
          </a:p>
        </p:txBody>
      </p:sp>
      <p:sp>
        <p:nvSpPr>
          <p:cNvPr id="4" name="Content Placeholder 3">
            <a:extLst>
              <a:ext uri="{FF2B5EF4-FFF2-40B4-BE49-F238E27FC236}">
                <a16:creationId xmlns:a16="http://schemas.microsoft.com/office/drawing/2014/main" id="{5E6F4F80-622C-7FD5-5140-B259C2F80554}"/>
              </a:ext>
            </a:extLst>
          </p:cNvPr>
          <p:cNvSpPr>
            <a:spLocks noGrp="1"/>
          </p:cNvSpPr>
          <p:nvPr>
            <p:ph sz="quarter" idx="17"/>
          </p:nvPr>
        </p:nvSpPr>
        <p:spPr/>
        <p:txBody>
          <a:bodyPr/>
          <a:lstStyle/>
          <a:p>
            <a:r>
              <a:rPr lang="en-US" sz="1800" dirty="0"/>
              <a:t>Kent Beck:</a:t>
            </a:r>
          </a:p>
          <a:p>
            <a:r>
              <a:rPr lang="en-US" sz="1800" b="0" dirty="0"/>
              <a:t>The original description of TDD was in an ancient book about programming. It said you take the input tape, manually type in the output tape you expect, then program until the actual output tape matches the expected output. </a:t>
            </a:r>
          </a:p>
          <a:p>
            <a:r>
              <a:rPr lang="en-US" sz="1800" b="0" dirty="0"/>
              <a:t>After I’d written the first </a:t>
            </a:r>
            <a:r>
              <a:rPr lang="en-US" sz="1800" b="0" dirty="0" err="1"/>
              <a:t>xUnit</a:t>
            </a:r>
            <a:r>
              <a:rPr lang="en-US" sz="1800" b="0" dirty="0"/>
              <a:t> framework in Smalltalk I remembered reading this and tried it out. That was the origin of TDD for me. When describing TDD to older programmers, I often hear, “Of course. How else could you program?” Therefore I refer to my role as “rediscovering” TDD.</a:t>
            </a:r>
          </a:p>
        </p:txBody>
      </p:sp>
      <p:sp>
        <p:nvSpPr>
          <p:cNvPr id="5" name="Footer Placeholder 4">
            <a:extLst>
              <a:ext uri="{FF2B5EF4-FFF2-40B4-BE49-F238E27FC236}">
                <a16:creationId xmlns:a16="http://schemas.microsoft.com/office/drawing/2014/main" id="{0CA3EF2F-BB7C-860D-F8C4-A15D804154C0}"/>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704F9C7A-5A88-E7BB-AA37-D7C36750E38F}"/>
              </a:ext>
            </a:extLst>
          </p:cNvPr>
          <p:cNvSpPr>
            <a:spLocks noGrp="1"/>
          </p:cNvSpPr>
          <p:nvPr>
            <p:ph type="title"/>
          </p:nvPr>
        </p:nvSpPr>
        <p:spPr/>
        <p:txBody>
          <a:bodyPr/>
          <a:lstStyle/>
          <a:p>
            <a:r>
              <a:rPr lang="en-US" dirty="0"/>
              <a:t>The rediscoverer</a:t>
            </a:r>
            <a:endParaRPr lang="en-DE" dirty="0"/>
          </a:p>
        </p:txBody>
      </p:sp>
      <p:sp>
        <p:nvSpPr>
          <p:cNvPr id="7" name="Date Placeholder 6">
            <a:extLst>
              <a:ext uri="{FF2B5EF4-FFF2-40B4-BE49-F238E27FC236}">
                <a16:creationId xmlns:a16="http://schemas.microsoft.com/office/drawing/2014/main" id="{F62C3249-0D66-696A-43BD-092EE0AA7214}"/>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907613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06737B-D632-7B8C-9315-0F4290FCD0B7}"/>
              </a:ext>
            </a:extLst>
          </p:cNvPr>
          <p:cNvSpPr>
            <a:spLocks noGrp="1"/>
          </p:cNvSpPr>
          <p:nvPr>
            <p:ph type="sldNum" sz="quarter" idx="11"/>
          </p:nvPr>
        </p:nvSpPr>
        <p:spPr>
          <a:xfrm>
            <a:off x="11555481" y="6602770"/>
            <a:ext cx="157094" cy="153888"/>
          </a:xfrm>
        </p:spPr>
        <p:txBody>
          <a:bodyPr wrap="none" anchor="b">
            <a:normAutofit/>
          </a:bodyPr>
          <a:lstStyle/>
          <a:p>
            <a:pPr>
              <a:spcAft>
                <a:spcPts val="600"/>
              </a:spcAft>
            </a:pPr>
            <a:fld id="{C50CBA42-791E-4851-9FB4-39A223136DC3}" type="slidenum">
              <a:rPr lang="de-DE" smtClean="0"/>
              <a:pPr>
                <a:spcAft>
                  <a:spcPts val="600"/>
                </a:spcAft>
              </a:pPr>
              <a:t>8</a:t>
            </a:fld>
            <a:endParaRPr lang="de-DE"/>
          </a:p>
        </p:txBody>
      </p:sp>
      <p:sp>
        <p:nvSpPr>
          <p:cNvPr id="33796" name="Text Placeholder 2">
            <a:extLst>
              <a:ext uri="{FF2B5EF4-FFF2-40B4-BE49-F238E27FC236}">
                <a16:creationId xmlns:a16="http://schemas.microsoft.com/office/drawing/2014/main" id="{C6A0A919-81F0-3164-4220-30A90740BF4B}"/>
              </a:ext>
            </a:extLst>
          </p:cNvPr>
          <p:cNvSpPr>
            <a:spLocks noGrp="1"/>
          </p:cNvSpPr>
          <p:nvPr>
            <p:ph type="body" sz="quarter" idx="15"/>
          </p:nvPr>
        </p:nvSpPr>
        <p:spPr>
          <a:xfrm>
            <a:off x="479424" y="340366"/>
            <a:ext cx="9509760" cy="246221"/>
          </a:xfrm>
        </p:spPr>
        <p:txBody>
          <a:bodyPr/>
          <a:lstStyle/>
          <a:p>
            <a:r>
              <a:rPr lang="en-US" dirty="0"/>
              <a:t>Test driven development</a:t>
            </a:r>
          </a:p>
        </p:txBody>
      </p:sp>
      <p:pic>
        <p:nvPicPr>
          <p:cNvPr id="33794" name="Picture 2" descr="test-driven-development-TDD">
            <a:extLst>
              <a:ext uri="{FF2B5EF4-FFF2-40B4-BE49-F238E27FC236}">
                <a16:creationId xmlns:a16="http://schemas.microsoft.com/office/drawing/2014/main" id="{E77D65A1-627D-FF8F-1F98-B838F9B1476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699718" y="1775816"/>
            <a:ext cx="6792559" cy="4510684"/>
          </a:xfrm>
          <a:prstGeom prst="rect">
            <a:avLst/>
          </a:prstGeom>
          <a:solidFill>
            <a:srgbClr val="FFFFFF"/>
          </a:solidFill>
        </p:spPr>
      </p:pic>
      <p:sp>
        <p:nvSpPr>
          <p:cNvPr id="5" name="Footer Placeholder 4">
            <a:extLst>
              <a:ext uri="{FF2B5EF4-FFF2-40B4-BE49-F238E27FC236}">
                <a16:creationId xmlns:a16="http://schemas.microsoft.com/office/drawing/2014/main" id="{47AF090D-9F2B-A654-55B3-8C889C3AFCD8}"/>
              </a:ext>
            </a:extLst>
          </p:cNvPr>
          <p:cNvSpPr>
            <a:spLocks noGrp="1"/>
          </p:cNvSpPr>
          <p:nvPr>
            <p:ph type="ftr" sz="quarter" idx="3"/>
          </p:nvPr>
        </p:nvSpPr>
        <p:spPr>
          <a:xfrm>
            <a:off x="479423" y="6602770"/>
            <a:ext cx="7246798" cy="153888"/>
          </a:xfrm>
        </p:spPr>
        <p:txBody>
          <a:bodyPr wrap="square" anchor="b">
            <a:normAutofit/>
          </a:bodyPr>
          <a:lstStyle/>
          <a:p>
            <a:pPr>
              <a:spcAft>
                <a:spcPts val="600"/>
              </a:spcAft>
            </a:pPr>
            <a:r>
              <a:rPr lang="de-DE"/>
              <a:t>Senacor Technologies AG</a:t>
            </a:r>
          </a:p>
        </p:txBody>
      </p:sp>
      <p:sp>
        <p:nvSpPr>
          <p:cNvPr id="33801" name="Title 5">
            <a:extLst>
              <a:ext uri="{FF2B5EF4-FFF2-40B4-BE49-F238E27FC236}">
                <a16:creationId xmlns:a16="http://schemas.microsoft.com/office/drawing/2014/main" id="{33EEE02D-C6F3-6C4F-1624-D6E843527C5E}"/>
              </a:ext>
            </a:extLst>
          </p:cNvPr>
          <p:cNvSpPr>
            <a:spLocks noGrp="1"/>
          </p:cNvSpPr>
          <p:nvPr>
            <p:ph type="title"/>
          </p:nvPr>
        </p:nvSpPr>
        <p:spPr>
          <a:xfrm>
            <a:off x="479425" y="789413"/>
            <a:ext cx="11233150" cy="609398"/>
          </a:xfrm>
        </p:spPr>
        <p:txBody>
          <a:bodyPr/>
          <a:lstStyle/>
          <a:p>
            <a:r>
              <a:rPr lang="en-US" dirty="0"/>
              <a:t>How to do it</a:t>
            </a:r>
          </a:p>
        </p:txBody>
      </p:sp>
      <p:sp>
        <p:nvSpPr>
          <p:cNvPr id="7" name="Date Placeholder 6">
            <a:extLst>
              <a:ext uri="{FF2B5EF4-FFF2-40B4-BE49-F238E27FC236}">
                <a16:creationId xmlns:a16="http://schemas.microsoft.com/office/drawing/2014/main" id="{C0EEDCE2-ABB4-4A19-2DDA-6784876E6A04}"/>
              </a:ext>
            </a:extLst>
          </p:cNvPr>
          <p:cNvSpPr>
            <a:spLocks noGrp="1"/>
          </p:cNvSpPr>
          <p:nvPr>
            <p:ph type="dt" sz="half" idx="2"/>
          </p:nvPr>
        </p:nvSpPr>
        <p:spPr>
          <a:xfrm>
            <a:off x="9182100" y="6602770"/>
            <a:ext cx="1250121" cy="153888"/>
          </a:xfrm>
        </p:spPr>
        <p:txBody>
          <a:bodyPr wrap="square" anchor="b">
            <a:normAutofit/>
          </a:bodyPr>
          <a:lstStyle/>
          <a:p>
            <a:pPr>
              <a:spcAft>
                <a:spcPts val="600"/>
              </a:spcAft>
            </a:pPr>
            <a:fld id="{62617C13-86F7-470E-8828-65CC1372C3B0}" type="datetime4">
              <a:rPr lang="de-DE" smtClean="0"/>
              <a:pPr>
                <a:spcAft>
                  <a:spcPts val="600"/>
                </a:spcAft>
              </a:pPr>
              <a:t>29. November 2022</a:t>
            </a:fld>
            <a:endParaRPr lang="de-DE"/>
          </a:p>
        </p:txBody>
      </p:sp>
    </p:spTree>
    <p:extLst>
      <p:ext uri="{BB962C8B-B14F-4D97-AF65-F5344CB8AC3E}">
        <p14:creationId xmlns:p14="http://schemas.microsoft.com/office/powerpoint/2010/main" val="25652047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BFF89A-D591-FBD4-A619-A7AD44212829}"/>
              </a:ext>
            </a:extLst>
          </p:cNvPr>
          <p:cNvSpPr>
            <a:spLocks noGrp="1"/>
          </p:cNvSpPr>
          <p:nvPr>
            <p:ph type="sldNum" sz="quarter" idx="11"/>
          </p:nvPr>
        </p:nvSpPr>
        <p:spPr/>
        <p:txBody>
          <a:bodyPr/>
          <a:lstStyle/>
          <a:p>
            <a:fld id="{C50CBA42-791E-4851-9FB4-39A223136DC3}" type="slidenum">
              <a:rPr lang="de-DE" smtClean="0"/>
              <a:t>9</a:t>
            </a:fld>
            <a:endParaRPr lang="de-DE"/>
          </a:p>
        </p:txBody>
      </p:sp>
      <p:sp>
        <p:nvSpPr>
          <p:cNvPr id="3" name="Text Placeholder 2">
            <a:extLst>
              <a:ext uri="{FF2B5EF4-FFF2-40B4-BE49-F238E27FC236}">
                <a16:creationId xmlns:a16="http://schemas.microsoft.com/office/drawing/2014/main" id="{415AB48A-D8F4-23FA-5584-3962D05EEF59}"/>
              </a:ext>
            </a:extLst>
          </p:cNvPr>
          <p:cNvSpPr>
            <a:spLocks noGrp="1"/>
          </p:cNvSpPr>
          <p:nvPr>
            <p:ph type="body" sz="quarter" idx="15"/>
          </p:nvPr>
        </p:nvSpPr>
        <p:spPr>
          <a:xfrm>
            <a:off x="479424" y="340366"/>
            <a:ext cx="9509760" cy="246221"/>
          </a:xfrm>
        </p:spPr>
        <p:txBody>
          <a:bodyPr/>
          <a:lstStyle/>
          <a:p>
            <a:r>
              <a:rPr lang="en-US" dirty="0"/>
              <a:t>Test driven development</a:t>
            </a:r>
          </a:p>
        </p:txBody>
      </p:sp>
      <p:sp>
        <p:nvSpPr>
          <p:cNvPr id="4" name="Content Placeholder 3">
            <a:extLst>
              <a:ext uri="{FF2B5EF4-FFF2-40B4-BE49-F238E27FC236}">
                <a16:creationId xmlns:a16="http://schemas.microsoft.com/office/drawing/2014/main" id="{E64F5174-6BF7-7B2D-6FA0-46D4756C8FEA}"/>
              </a:ext>
            </a:extLst>
          </p:cNvPr>
          <p:cNvSpPr>
            <a:spLocks noGrp="1"/>
          </p:cNvSpPr>
          <p:nvPr>
            <p:ph sz="quarter" idx="17"/>
          </p:nvPr>
        </p:nvSpPr>
        <p:spPr/>
        <p:txBody>
          <a:bodyPr/>
          <a:lstStyle/>
          <a:p>
            <a:pPr marL="285750" indent="-285750">
              <a:buFontTx/>
              <a:buChar char="-"/>
            </a:pPr>
            <a:r>
              <a:rPr lang="en-DE" sz="1800" dirty="0"/>
              <a:t>TDD is about software design, drive design through tests</a:t>
            </a:r>
          </a:p>
          <a:p>
            <a:pPr marL="285750" lvl="1" indent="-285750">
              <a:buFontTx/>
              <a:buChar char="-"/>
            </a:pPr>
            <a:r>
              <a:rPr lang="en-DE" sz="1400" dirty="0"/>
              <a:t>Tests are examples of usage</a:t>
            </a:r>
          </a:p>
          <a:p>
            <a:pPr marL="285750" indent="-285750">
              <a:buFontTx/>
              <a:buChar char="-"/>
            </a:pPr>
            <a:r>
              <a:rPr lang="en-DE" sz="1800" dirty="0"/>
              <a:t>Software design is about where to put behavior</a:t>
            </a:r>
          </a:p>
          <a:p>
            <a:pPr marL="285750" indent="-285750">
              <a:buFontTx/>
              <a:buChar char="-"/>
            </a:pPr>
            <a:r>
              <a:rPr lang="en-DE" sz="1800" dirty="0"/>
              <a:t>We only test behavior, not implementation details</a:t>
            </a:r>
          </a:p>
          <a:p>
            <a:pPr marL="285750" lvl="1" indent="-285750">
              <a:buFontTx/>
              <a:buChar char="-"/>
            </a:pPr>
            <a:r>
              <a:rPr lang="en-DE" sz="1400" dirty="0"/>
              <a:t>Sep</a:t>
            </a:r>
            <a:r>
              <a:rPr lang="en-US" sz="1400" dirty="0"/>
              <a:t>a</a:t>
            </a:r>
            <a:r>
              <a:rPr lang="en-DE" sz="1400" dirty="0"/>
              <a:t>rate design of interface and implementation</a:t>
            </a:r>
            <a:r>
              <a:rPr lang="en-DE" sz="1800" dirty="0"/>
              <a:t> </a:t>
            </a:r>
            <a:endParaRPr lang="en-DE" sz="1400" dirty="0"/>
          </a:p>
          <a:p>
            <a:pPr marL="285750" indent="-285750">
              <a:buFontTx/>
              <a:buChar char="-"/>
            </a:pPr>
            <a:r>
              <a:rPr lang="en-DE" sz="1800" dirty="0"/>
              <a:t>We only add tests for new requirments</a:t>
            </a:r>
          </a:p>
          <a:p>
            <a:pPr marL="285750" indent="-285750">
              <a:buFontTx/>
              <a:buChar char="-"/>
            </a:pPr>
            <a:endParaRPr lang="en-DE" sz="1800" dirty="0"/>
          </a:p>
          <a:p>
            <a:pPr marL="285750" indent="-285750">
              <a:buFontTx/>
              <a:buChar char="-"/>
            </a:pPr>
            <a:endParaRPr lang="en-DE" dirty="0"/>
          </a:p>
        </p:txBody>
      </p:sp>
      <p:sp>
        <p:nvSpPr>
          <p:cNvPr id="5" name="Footer Placeholder 4">
            <a:extLst>
              <a:ext uri="{FF2B5EF4-FFF2-40B4-BE49-F238E27FC236}">
                <a16:creationId xmlns:a16="http://schemas.microsoft.com/office/drawing/2014/main" id="{DE9491DF-411E-52FE-4285-8908A1B9F001}"/>
              </a:ext>
            </a:extLst>
          </p:cNvPr>
          <p:cNvSpPr>
            <a:spLocks noGrp="1"/>
          </p:cNvSpPr>
          <p:nvPr>
            <p:ph type="ftr" sz="quarter" idx="3"/>
          </p:nvPr>
        </p:nvSpPr>
        <p:spPr/>
        <p:txBody>
          <a:bodyPr/>
          <a:lstStyle/>
          <a:p>
            <a:r>
              <a:rPr lang="de-DE"/>
              <a:t>Senacor Technologies AG</a:t>
            </a:r>
          </a:p>
        </p:txBody>
      </p:sp>
      <p:sp>
        <p:nvSpPr>
          <p:cNvPr id="6" name="Title 5">
            <a:extLst>
              <a:ext uri="{FF2B5EF4-FFF2-40B4-BE49-F238E27FC236}">
                <a16:creationId xmlns:a16="http://schemas.microsoft.com/office/drawing/2014/main" id="{D73BAAE2-14CA-D92E-533B-E6F8EFEE6E29}"/>
              </a:ext>
            </a:extLst>
          </p:cNvPr>
          <p:cNvSpPr>
            <a:spLocks noGrp="1"/>
          </p:cNvSpPr>
          <p:nvPr>
            <p:ph type="title"/>
          </p:nvPr>
        </p:nvSpPr>
        <p:spPr/>
        <p:txBody>
          <a:bodyPr/>
          <a:lstStyle/>
          <a:p>
            <a:r>
              <a:rPr lang="en-DE" dirty="0"/>
              <a:t>What is it all about</a:t>
            </a:r>
          </a:p>
        </p:txBody>
      </p:sp>
      <p:sp>
        <p:nvSpPr>
          <p:cNvPr id="7" name="Date Placeholder 6">
            <a:extLst>
              <a:ext uri="{FF2B5EF4-FFF2-40B4-BE49-F238E27FC236}">
                <a16:creationId xmlns:a16="http://schemas.microsoft.com/office/drawing/2014/main" id="{068DBD7A-5C37-C867-260C-2039F86A104F}"/>
              </a:ext>
            </a:extLst>
          </p:cNvPr>
          <p:cNvSpPr>
            <a:spLocks noGrp="1"/>
          </p:cNvSpPr>
          <p:nvPr>
            <p:ph type="dt" sz="half" idx="2"/>
          </p:nvPr>
        </p:nvSpPr>
        <p:spPr/>
        <p:txBody>
          <a:bodyPr/>
          <a:lstStyle/>
          <a:p>
            <a:fld id="{62617C13-86F7-470E-8828-65CC1372C3B0}" type="datetime4">
              <a:rPr lang="de-DE" smtClean="0"/>
              <a:t>29. November 2022</a:t>
            </a:fld>
            <a:endParaRPr lang="de-DE" dirty="0"/>
          </a:p>
        </p:txBody>
      </p:sp>
    </p:spTree>
    <p:extLst>
      <p:ext uri="{BB962C8B-B14F-4D97-AF65-F5344CB8AC3E}">
        <p14:creationId xmlns:p14="http://schemas.microsoft.com/office/powerpoint/2010/main" val="2907567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sRz7rTXnPYaxjnRa6w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3Tf7DBBDucYED2mxjm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__qtxhKAJrOYl0XdtkC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GZWAQJRSzAgrWEOd0mC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3Tf7DBBDucYED2mxjm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2wpgivOAYlmRYRRBBDz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3Tf7DBBDucYED2mxjmtw"/>
</p:tagLst>
</file>

<file path=ppt/theme/theme1.xml><?xml version="1.0" encoding="utf-8"?>
<a:theme xmlns:a="http://schemas.openxmlformats.org/drawingml/2006/main" name="Senacor">
  <a:themeElements>
    <a:clrScheme name="Senacor">
      <a:dk1>
        <a:srgbClr val="000000"/>
      </a:dk1>
      <a:lt1>
        <a:srgbClr val="FFFFFF"/>
      </a:lt1>
      <a:dk2>
        <a:srgbClr val="969696"/>
      </a:dk2>
      <a:lt2>
        <a:srgbClr val="646464"/>
      </a:lt2>
      <a:accent1>
        <a:srgbClr val="C0C0C0"/>
      </a:accent1>
      <a:accent2>
        <a:srgbClr val="EAEAEA"/>
      </a:accent2>
      <a:accent3>
        <a:srgbClr val="03224F"/>
      </a:accent3>
      <a:accent4>
        <a:srgbClr val="3F5EFF"/>
      </a:accent4>
      <a:accent5>
        <a:srgbClr val="67A6FF"/>
      </a:accent5>
      <a:accent6>
        <a:srgbClr val="CBE7FE"/>
      </a:accent6>
      <a:hlink>
        <a:srgbClr val="3C3C3C"/>
      </a:hlink>
      <a:folHlink>
        <a:srgbClr val="646464"/>
      </a:folHlink>
    </a:clrScheme>
    <a:fontScheme name="Senac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accent1"/>
          </a:solidFill>
        </a:ln>
      </a:spPr>
      <a:bodyPr lIns="0" tIns="0" rIns="0" bIns="0"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2880" indent="-182880" algn="l">
          <a:spcBef>
            <a:spcPts val="400"/>
          </a:spcBef>
          <a:spcAft>
            <a:spcPts val="400"/>
          </a:spcAft>
          <a:buFont typeface="Wingdings" panose="05000000000000000000" pitchFamily="2" charset="2"/>
          <a:buChar char="§"/>
          <a:defRPr sz="1200" dirty="0" err="1" smtClean="0"/>
        </a:defPPr>
      </a:lstStyle>
    </a:txDef>
  </a:objectDefaults>
  <a:extraClrSchemeLst/>
  <a:extLst>
    <a:ext uri="{05A4C25C-085E-4340-85A3-A5531E510DB2}">
      <thm15:themeFamily xmlns:thm15="http://schemas.microsoft.com/office/thememl/2012/main" name="Senacor Master" id="{31F538A5-57F9-6546-BB57-125D83BFD11E}" vid="{17CA36CF-E8D7-7147-A938-344DE5EBBFF2}"/>
    </a:ext>
  </a:extLst>
</a:theme>
</file>

<file path=ppt/theme/theme2.xml><?xml version="1.0" encoding="utf-8"?>
<a:theme xmlns:a="http://schemas.openxmlformats.org/drawingml/2006/main" name="Office">
  <a:themeElements>
    <a:clrScheme name="Senacor">
      <a:dk1>
        <a:srgbClr val="000000"/>
      </a:dk1>
      <a:lt1>
        <a:srgbClr val="FFFFFF"/>
      </a:lt1>
      <a:dk2>
        <a:srgbClr val="969696"/>
      </a:dk2>
      <a:lt2>
        <a:srgbClr val="646464"/>
      </a:lt2>
      <a:accent1>
        <a:srgbClr val="C0C0C0"/>
      </a:accent1>
      <a:accent2>
        <a:srgbClr val="EAEAEA"/>
      </a:accent2>
      <a:accent3>
        <a:srgbClr val="03224F"/>
      </a:accent3>
      <a:accent4>
        <a:srgbClr val="3F5EFF"/>
      </a:accent4>
      <a:accent5>
        <a:srgbClr val="67A6FF"/>
      </a:accent5>
      <a:accent6>
        <a:srgbClr val="CBE7FE"/>
      </a:accent6>
      <a:hlink>
        <a:srgbClr val="3C3C3C"/>
      </a:hlink>
      <a:folHlink>
        <a:srgbClr val="646464"/>
      </a:folHlink>
    </a:clrScheme>
    <a:fontScheme name="Senac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enacor">
      <a:dk1>
        <a:srgbClr val="000000"/>
      </a:dk1>
      <a:lt1>
        <a:srgbClr val="FFFFFF"/>
      </a:lt1>
      <a:dk2>
        <a:srgbClr val="969696"/>
      </a:dk2>
      <a:lt2>
        <a:srgbClr val="646464"/>
      </a:lt2>
      <a:accent1>
        <a:srgbClr val="C0C0C0"/>
      </a:accent1>
      <a:accent2>
        <a:srgbClr val="EAEAEA"/>
      </a:accent2>
      <a:accent3>
        <a:srgbClr val="03224F"/>
      </a:accent3>
      <a:accent4>
        <a:srgbClr val="3F5EFF"/>
      </a:accent4>
      <a:accent5>
        <a:srgbClr val="67A6FF"/>
      </a:accent5>
      <a:accent6>
        <a:srgbClr val="CBE7FE"/>
      </a:accent6>
      <a:hlink>
        <a:srgbClr val="3C3C3C"/>
      </a:hlink>
      <a:folHlink>
        <a:srgbClr val="646464"/>
      </a:folHlink>
    </a:clrScheme>
    <a:fontScheme name="Senac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08</TotalTime>
  <Words>1419</Words>
  <Application>Microsoft Macintosh PowerPoint</Application>
  <PresentationFormat>Widescreen</PresentationFormat>
  <Paragraphs>180</Paragraphs>
  <Slides>20</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Symbol</vt:lpstr>
      <vt:lpstr>Wingdings</vt:lpstr>
      <vt:lpstr>Senacor</vt:lpstr>
      <vt:lpstr>think-cell Slide</vt:lpstr>
      <vt:lpstr>Coding Dojo</vt:lpstr>
      <vt:lpstr>Kent Beck did it</vt:lpstr>
      <vt:lpstr>Did he really?</vt:lpstr>
      <vt:lpstr>Even older?</vt:lpstr>
      <vt:lpstr>Come on …</vt:lpstr>
      <vt:lpstr>The real OG</vt:lpstr>
      <vt:lpstr>The rediscoverer</vt:lpstr>
      <vt:lpstr>How to do it</vt:lpstr>
      <vt:lpstr>What is it all about</vt:lpstr>
      <vt:lpstr>What is an interface or a module?</vt:lpstr>
      <vt:lpstr>How to write good Code</vt:lpstr>
      <vt:lpstr>Red Phase</vt:lpstr>
      <vt:lpstr>Green Phase</vt:lpstr>
      <vt:lpstr>Refactor Phase</vt:lpstr>
      <vt:lpstr>What are we gona develop today? </vt:lpstr>
      <vt:lpstr>Bowling basic rules</vt:lpstr>
      <vt:lpstr>Sprint 1</vt:lpstr>
      <vt:lpstr>Sprint 2</vt:lpstr>
      <vt:lpstr>Sprint 3</vt:lpstr>
      <vt:lpstr>Sprint 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Heinrich, Daniel</cp:lastModifiedBy>
  <cp:revision>9</cp:revision>
  <dcterms:created xsi:type="dcterms:W3CDTF">2020-05-29T06:26:02Z</dcterms:created>
  <dcterms:modified xsi:type="dcterms:W3CDTF">2022-11-29T13:29:18Z</dcterms:modified>
</cp:coreProperties>
</file>